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8.xml" ContentType="application/vnd.openxmlformats-officedocument.presentationml.slide+xml"/>
  <Override PartName="/ppt/slides/slide12.xml" ContentType="application/vnd.openxmlformats-officedocument.presentationml.slide+xml"/>
  <Override PartName="/ppt/slides/slide17.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6.xml" ContentType="application/vnd.openxmlformats-officedocument.presentationml.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slideMasters/slideMaster2.xml" ContentType="application/vnd.openxmlformats-officedocument.presentationml.slideMaster+xml"/>
  <Override PartName="/ppt/notesSlides/notesSlide7.xml" ContentType="application/vnd.openxmlformats-officedocument.presentationml.notesSlide+xml"/>
  <Override PartName="/ppt/slideLayouts/slideLayout23.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4.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2.xml" ContentType="application/vnd.openxmlformats-officedocument.presentationml.slideLayout+xml"/>
  <Override PartName="/ppt/slideLayouts/slideLayout46.xml" ContentType="application/vnd.openxmlformats-officedocument.presentationml.slideLayout+xml"/>
  <Override PartName="/ppt/slideLayouts/slideLayout48.xml" ContentType="application/vnd.openxmlformats-officedocument.presentationml.slideLayout+xml"/>
  <Override PartName="/ppt/slideLayouts/slideLayout5.xml" ContentType="application/vnd.openxmlformats-officedocument.presentationml.slideLayout+xml"/>
  <Override PartName="/ppt/notesSlides/notesSlide5.xml" ContentType="application/vnd.openxmlformats-officedocument.presentationml.notesSlide+xml"/>
  <Override PartName="/ppt/slideLayouts/slideLayout47.xml" ContentType="application/vnd.openxmlformats-officedocument.presentationml.slideLayout+xml"/>
  <Override PartName="/ppt/slideLayouts/slideLayout7.xml" ContentType="application/vnd.openxmlformats-officedocument.presentationml.slideLayout+xml"/>
  <Override PartName="/ppt/slideLayouts/slideLayout4.xml" ContentType="application/vnd.openxmlformats-officedocument.presentationml.slideLayout+xml"/>
  <Override PartName="/ppt/notesSlides/notesSlide6.xml" ContentType="application/vnd.openxmlformats-officedocument.presentationml.notesSlide+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4.xml" ContentType="application/vnd.openxmlformats-officedocument.presentationml.notesSlide+xml"/>
  <Override PartName="/ppt/slideLayouts/slideLayout6.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15.xml" ContentType="application/vnd.openxmlformats-officedocument.presentationml.slideLayout+xml"/>
  <Override PartName="/ppt/slideLayouts/slideLayout49.xml" ContentType="application/vnd.openxmlformats-officedocument.presentationml.slideLayout+xml"/>
  <Override PartName="/ppt/notesSlides/notesSlide2.xml" ContentType="application/vnd.openxmlformats-officedocument.presentationml.notesSlide+xml"/>
  <Override PartName="/ppt/slideLayouts/slideLayout14.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Layouts/slideLayout13.xml" ContentType="application/vnd.openxmlformats-officedocument.presentationml.slideLayout+xml"/>
  <Override PartName="/ppt/notesSlides/notesSlide3.xml" ContentType="application/vnd.openxmlformats-officedocument.presentationml.notesSlide+xml"/>
  <Override PartName="/ppt/slideLayouts/slideLayout11.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charts/chart4.xml" ContentType="application/vnd.openxmlformats-officedocument.drawingml.chart+xml"/>
  <Override PartName="/ppt/charts/chart3.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charts/chart2.xml" ContentType="application/vnd.openxmlformats-officedocument.drawingml.chart+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90.xml" ContentType="application/vnd.openxmlformats-officedocument.presentationml.tags+xml"/>
  <Override PartName="/ppt/tags/tag345.xml" ContentType="application/vnd.openxmlformats-officedocument.presentationml.tags+xml"/>
  <Override PartName="/ppt/tags/tag343.xml" ContentType="application/vnd.openxmlformats-officedocument.presentationml.tags+xml"/>
  <Override PartName="/ppt/tags/tag346.xml" ContentType="application/vnd.openxmlformats-officedocument.presentationml.tags+xml"/>
  <Override PartName="/ppt/tags/tag344.xml" ContentType="application/vnd.openxmlformats-officedocument.presentationml.tags+xml"/>
  <Override PartName="/ppt/tags/tag348.xml" ContentType="application/vnd.openxmlformats-officedocument.presentationml.tags+xml"/>
  <Override PartName="/ppt/tags/tag342.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47.xml" ContentType="application/vnd.openxmlformats-officedocument.presentationml.tags+xml"/>
  <Override PartName="/ppt/tags/tag340.xml" ContentType="application/vnd.openxmlformats-officedocument.presentationml.tags+xml"/>
  <Override PartName="/ppt/tags/tag352.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1.xml" ContentType="application/vnd.openxmlformats-officedocument.presentationml.tags+xml"/>
  <Override PartName="/ppt/tags/tag354.xml" ContentType="application/vnd.openxmlformats-officedocument.presentationml.tags+xml"/>
  <Override PartName="/ppt/tags/tag330.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66.xml" ContentType="application/vnd.openxmlformats-officedocument.presentationml.tags+xml"/>
  <Override PartName="/ppt/tags/tag365.xml" ContentType="application/vnd.openxmlformats-officedocument.presentationml.tags+xml"/>
  <Override PartName="/ppt/tags/tag36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53.xml" ContentType="application/vnd.openxmlformats-officedocument.presentationml.tags+xml"/>
  <Override PartName="/ppt/tags/tag328.xml" ContentType="application/vnd.openxmlformats-officedocument.presentationml.tags+xml"/>
  <Override PartName="/ppt/tags/tag376.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29.xml" ContentType="application/vnd.openxmlformats-officedocument.presentationml.tags+xml"/>
  <Override PartName="/ppt/tags/tag378.xml" ContentType="application/vnd.openxmlformats-officedocument.presentationml.tags+xml"/>
  <Override PartName="/ppt/tags/tag89.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85.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377.xml" ContentType="application/vnd.openxmlformats-officedocument.presentationml.tags+xml"/>
  <Override PartName="/ppt/tags/tag282.xml" ContentType="application/vnd.openxmlformats-officedocument.presentationml.tags+xml"/>
  <Override PartName="/ppt/tags/tag28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70.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281.xml" ContentType="application/vnd.openxmlformats-officedocument.presentationml.tags+xml"/>
  <Override PartName="/ppt/tags/tag208.xml" ContentType="application/vnd.openxmlformats-officedocument.presentationml.tags+xml"/>
  <Override PartName="/ppt/tags/tag210.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09.xml" ContentType="application/vnd.openxmlformats-officedocument.presentationml.tags+xml"/>
  <Override PartName="/ppt/tags/tag221.xml" ContentType="application/vnd.openxmlformats-officedocument.presentationml.tags+xml"/>
  <Override PartName="/ppt/tags/tag219.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2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07" r:id="rId2"/>
  </p:sldMasterIdLst>
  <p:notesMasterIdLst>
    <p:notesMasterId r:id="rId21"/>
  </p:notesMasterIdLst>
  <p:sldIdLst>
    <p:sldId id="404" r:id="rId3"/>
    <p:sldId id="259" r:id="rId4"/>
    <p:sldId id="423" r:id="rId5"/>
    <p:sldId id="422" r:id="rId6"/>
    <p:sldId id="409" r:id="rId7"/>
    <p:sldId id="410" r:id="rId8"/>
    <p:sldId id="418" r:id="rId9"/>
    <p:sldId id="411" r:id="rId10"/>
    <p:sldId id="412" r:id="rId11"/>
    <p:sldId id="421" r:id="rId12"/>
    <p:sldId id="420" r:id="rId13"/>
    <p:sldId id="419" r:id="rId14"/>
    <p:sldId id="417" r:id="rId15"/>
    <p:sldId id="424" r:id="rId16"/>
    <p:sldId id="414" r:id="rId17"/>
    <p:sldId id="407" r:id="rId18"/>
    <p:sldId id="408" r:id="rId19"/>
    <p:sldId id="400" r:id="rId20"/>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8F3"/>
    <a:srgbClr val="D80F5F"/>
    <a:srgbClr val="FBBB4C"/>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3" autoAdjust="0"/>
    <p:restoredTop sz="94632" autoAdjust="0"/>
  </p:normalViewPr>
  <p:slideViewPr>
    <p:cSldViewPr snapToGrid="0" snapToObjects="1">
      <p:cViewPr>
        <p:scale>
          <a:sx n="100" d="100"/>
          <a:sy n="100" d="100"/>
        </p:scale>
        <p:origin x="-1206" y="-402"/>
      </p:cViewPr>
      <p:guideLst>
        <p:guide orient="horz" pos="851"/>
        <p:guide orient="horz" pos="3680"/>
        <p:guide orient="horz" pos="291"/>
        <p:guide orient="horz" pos="1159"/>
        <p:guide orient="horz" pos="2012"/>
        <p:guide orient="horz" pos="2843"/>
        <p:guide orient="horz" pos="189"/>
        <p:guide pos="1254"/>
        <p:guide pos="6009"/>
        <p:guide pos="2982"/>
        <p:guide pos="326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502286736925827E-2"/>
          <c:y val="8.0427438840040874E-2"/>
          <c:w val="0.9024437462716246"/>
          <c:h val="0.72109909275125494"/>
        </c:manualLayout>
      </c:layout>
      <c:barChart>
        <c:barDir val="col"/>
        <c:grouping val="clustered"/>
        <c:varyColors val="0"/>
        <c:ser>
          <c:idx val="0"/>
          <c:order val="0"/>
          <c:tx>
            <c:strRef>
              <c:f>Sheet1!$B$2</c:f>
              <c:strCache>
                <c:ptCount val="1"/>
                <c:pt idx="0">
                  <c:v>EUR</c:v>
                </c:pt>
              </c:strCache>
            </c:strRef>
          </c:tx>
          <c:spPr>
            <a:ln w="28575">
              <a:solidFill>
                <a:schemeClr val="accent1"/>
              </a:solidFill>
              <a:prstDash val="solid"/>
            </a:ln>
          </c:spPr>
          <c:invertIfNegative val="0"/>
          <c:dLbls>
            <c:dLbl>
              <c:idx val="0"/>
              <c:layout/>
              <c:numFmt formatCode="0%" sourceLinked="0"/>
              <c:spPr/>
              <c:txPr>
                <a:bodyPr/>
                <a:lstStyle/>
                <a:p>
                  <a:pPr>
                    <a:defRPr sz="1100"/>
                  </a:pPr>
                  <a:endParaRPr lang="en-US"/>
                </a:p>
              </c:txPr>
              <c:dLblPos val="outEnd"/>
              <c:showLegendKey val="0"/>
              <c:showVal val="1"/>
              <c:showCatName val="0"/>
              <c:showSerName val="0"/>
              <c:showPercent val="0"/>
              <c:showBubbleSize val="0"/>
            </c:dLbl>
            <c:dLbl>
              <c:idx val="1"/>
              <c:layout>
                <c:manualLayout>
                  <c:x val="0"/>
                  <c:y val="1.3566868638527322E-2"/>
                </c:manualLayout>
              </c:layout>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0"/>
          </c:dLbls>
          <c:cat>
            <c:strRef>
              <c:f>Sheet1!$A$3:$A$4</c:f>
              <c:strCache>
                <c:ptCount val="2"/>
                <c:pt idx="0">
                  <c:v>Oct 2013 - Jun 2014</c:v>
                </c:pt>
                <c:pt idx="1">
                  <c:v>Jul 2014 - Mar 2015</c:v>
                </c:pt>
              </c:strCache>
            </c:strRef>
          </c:cat>
          <c:val>
            <c:numRef>
              <c:f>Sheet1!$B$3:$B$4</c:f>
              <c:numCache>
                <c:formatCode>0%</c:formatCode>
                <c:ptCount val="2"/>
                <c:pt idx="0">
                  <c:v>0.1525147268137097</c:v>
                </c:pt>
                <c:pt idx="1">
                  <c:v>0.15896081418513885</c:v>
                </c:pt>
              </c:numCache>
            </c:numRef>
          </c:val>
        </c:ser>
        <c:ser>
          <c:idx val="1"/>
          <c:order val="1"/>
          <c:tx>
            <c:strRef>
              <c:f>Sheet1!$C$2</c:f>
              <c:strCache>
                <c:ptCount val="1"/>
                <c:pt idx="0">
                  <c:v>USD</c:v>
                </c:pt>
              </c:strCache>
            </c:strRef>
          </c:tx>
          <c:invertIfNegative val="0"/>
          <c:dLbls>
            <c:dLbl>
              <c:idx val="0"/>
              <c:layout>
                <c:manualLayout>
                  <c:x val="8.0810488150958055E-3"/>
                  <c:y val="2.2611091645087889E-2"/>
                </c:manualLayout>
              </c:layout>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0"/>
          </c:dLbls>
          <c:cat>
            <c:strRef>
              <c:f>Sheet1!$A$3:$A$4</c:f>
              <c:strCache>
                <c:ptCount val="2"/>
                <c:pt idx="0">
                  <c:v>Oct 2013 - Jun 2014</c:v>
                </c:pt>
                <c:pt idx="1">
                  <c:v>Jul 2014 - Mar 2015</c:v>
                </c:pt>
              </c:strCache>
            </c:strRef>
          </c:cat>
          <c:val>
            <c:numRef>
              <c:f>Sheet1!$C$3:$C$4</c:f>
              <c:numCache>
                <c:formatCode>0%</c:formatCode>
                <c:ptCount val="2"/>
                <c:pt idx="0">
                  <c:v>0.16572021561788342</c:v>
                </c:pt>
                <c:pt idx="1">
                  <c:v>-9.0881552917903119E-2</c:v>
                </c:pt>
              </c:numCache>
            </c:numRef>
          </c:val>
        </c:ser>
        <c:ser>
          <c:idx val="2"/>
          <c:order val="2"/>
          <c:tx>
            <c:strRef>
              <c:f>Sheet1!$D$2</c:f>
              <c:strCache>
                <c:ptCount val="1"/>
                <c:pt idx="0">
                  <c:v>JPY</c:v>
                </c:pt>
              </c:strCache>
            </c:strRef>
          </c:tx>
          <c:invertIfNegative val="0"/>
          <c:dLbls>
            <c:dLbl>
              <c:idx val="0"/>
              <c:layout>
                <c:manualLayout>
                  <c:x val="5.0955424235001601E-3"/>
                  <c:y val="2.2611447730878906E-2"/>
                </c:manualLayout>
              </c:layout>
              <c:showLegendKey val="0"/>
              <c:showVal val="1"/>
              <c:showCatName val="0"/>
              <c:showSerName val="0"/>
              <c:showPercent val="0"/>
              <c:showBubbleSize val="0"/>
            </c:dLbl>
            <c:dLbl>
              <c:idx val="1"/>
              <c:layout>
                <c:manualLayout>
                  <c:x val="7.6433136352502401E-3"/>
                  <c:y val="9.0445790923515627E-3"/>
                </c:manualLayout>
              </c:layout>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0"/>
          </c:dLbls>
          <c:cat>
            <c:strRef>
              <c:f>Sheet1!$A$3:$A$4</c:f>
              <c:strCache>
                <c:ptCount val="2"/>
                <c:pt idx="0">
                  <c:v>Oct 2013 - Jun 2014</c:v>
                </c:pt>
                <c:pt idx="1">
                  <c:v>Jul 2014 - Mar 2015</c:v>
                </c:pt>
              </c:strCache>
            </c:strRef>
          </c:cat>
          <c:val>
            <c:numRef>
              <c:f>Sheet1!$D$3:$D$4</c:f>
              <c:numCache>
                <c:formatCode>0%</c:formatCode>
                <c:ptCount val="2"/>
                <c:pt idx="0">
                  <c:v>0.20349032236422793</c:v>
                </c:pt>
                <c:pt idx="1">
                  <c:v>7.6225184483203146E-2</c:v>
                </c:pt>
              </c:numCache>
            </c:numRef>
          </c:val>
        </c:ser>
        <c:dLbls>
          <c:showLegendKey val="0"/>
          <c:showVal val="0"/>
          <c:showCatName val="0"/>
          <c:showSerName val="0"/>
          <c:showPercent val="0"/>
          <c:showBubbleSize val="0"/>
        </c:dLbls>
        <c:gapWidth val="150"/>
        <c:axId val="198846720"/>
        <c:axId val="262498176"/>
      </c:barChart>
      <c:catAx>
        <c:axId val="198846720"/>
        <c:scaling>
          <c:orientation val="minMax"/>
        </c:scaling>
        <c:delete val="0"/>
        <c:axPos val="b"/>
        <c:numFmt formatCode="[$-409]mmm\-yy;@" sourceLinked="0"/>
        <c:majorTickMark val="in"/>
        <c:minorTickMark val="in"/>
        <c:tickLblPos val="low"/>
        <c:spPr>
          <a:ln w="3157">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62498176"/>
        <c:crosses val="autoZero"/>
        <c:auto val="0"/>
        <c:lblAlgn val="ctr"/>
        <c:lblOffset val="1"/>
        <c:tickMarkSkip val="6"/>
        <c:noMultiLvlLbl val="0"/>
      </c:catAx>
      <c:valAx>
        <c:axId val="262498176"/>
        <c:scaling>
          <c:orientation val="minMax"/>
        </c:scaling>
        <c:delete val="0"/>
        <c:axPos val="l"/>
        <c:majorGridlines>
          <c:spPr>
            <a:ln w="12626">
              <a:solidFill>
                <a:schemeClr val="tx2"/>
              </a:solidFill>
              <a:prstDash val="solid"/>
            </a:ln>
          </c:spPr>
        </c:majorGridlines>
        <c:numFmt formatCode="0%" sourceLinked="0"/>
        <c:majorTickMark val="out"/>
        <c:minorTickMark val="none"/>
        <c:tickLblPos val="nextTo"/>
        <c:spPr>
          <a:ln w="9470">
            <a:noFill/>
          </a:ln>
        </c:spPr>
        <c:txPr>
          <a:bodyPr rot="0" vert="horz"/>
          <a:lstStyle/>
          <a:p>
            <a:pPr>
              <a:defRPr sz="1000" b="0" i="0" u="none" strike="noStrike" baseline="0">
                <a:solidFill>
                  <a:schemeClr val="tx1"/>
                </a:solidFill>
                <a:latin typeface="Arial"/>
                <a:ea typeface="Arial"/>
                <a:cs typeface="Arial"/>
              </a:defRPr>
            </a:pPr>
            <a:endParaRPr lang="en-US"/>
          </a:p>
        </c:txPr>
        <c:crossAx val="198846720"/>
        <c:crosses val="autoZero"/>
        <c:crossBetween val="between"/>
      </c:valAx>
      <c:spPr>
        <a:noFill/>
        <a:ln w="25253">
          <a:noFill/>
        </a:ln>
      </c:spPr>
    </c:plotArea>
    <c:plotVisOnly val="1"/>
    <c:dispBlanksAs val="gap"/>
    <c:showDLblsOverMax val="0"/>
  </c:chart>
  <c:spPr>
    <a:noFill/>
    <a:ln>
      <a:noFill/>
    </a:ln>
  </c:spPr>
  <c:txPr>
    <a:bodyPr/>
    <a:lstStyle/>
    <a:p>
      <a:pPr>
        <a:defRPr sz="1392"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374274426138096E-2"/>
          <c:y val="5.3666246932347145E-2"/>
          <c:w val="0.88383233662609462"/>
          <c:h val="0.79458648113172614"/>
        </c:manualLayout>
      </c:layout>
      <c:lineChart>
        <c:grouping val="standard"/>
        <c:varyColors val="0"/>
        <c:ser>
          <c:idx val="2"/>
          <c:order val="0"/>
          <c:tx>
            <c:strRef>
              <c:f>Sheet1!$D$1</c:f>
              <c:strCache>
                <c:ptCount val="1"/>
              </c:strCache>
            </c:strRef>
          </c:tx>
          <c:spPr>
            <a:ln>
              <a:prstDash val="sysDot"/>
            </a:ln>
          </c:spPr>
          <c:marker>
            <c:symbol val="none"/>
          </c:marker>
          <c:cat>
            <c:numRef>
              <c:f>Sheet1!$A$2:$A$32</c:f>
              <c:numCache>
                <c:formatCode>0.00</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D$2:$D$32</c:f>
              <c:numCache>
                <c:formatCode>General</c:formatCode>
                <c:ptCount val="31"/>
                <c:pt idx="0">
                  <c:v>0.77</c:v>
                </c:pt>
                <c:pt idx="1">
                  <c:v>0.77</c:v>
                </c:pt>
                <c:pt idx="2">
                  <c:v>0.77</c:v>
                </c:pt>
                <c:pt idx="3">
                  <c:v>0.77</c:v>
                </c:pt>
                <c:pt idx="4">
                  <c:v>0.77</c:v>
                </c:pt>
                <c:pt idx="5">
                  <c:v>0.77</c:v>
                </c:pt>
                <c:pt idx="6">
                  <c:v>0.77</c:v>
                </c:pt>
                <c:pt idx="7">
                  <c:v>0.77</c:v>
                </c:pt>
                <c:pt idx="8">
                  <c:v>0.77</c:v>
                </c:pt>
                <c:pt idx="9">
                  <c:v>0.77</c:v>
                </c:pt>
                <c:pt idx="10">
                  <c:v>0.77</c:v>
                </c:pt>
                <c:pt idx="11">
                  <c:v>0.77</c:v>
                </c:pt>
                <c:pt idx="12">
                  <c:v>0.77</c:v>
                </c:pt>
                <c:pt idx="13">
                  <c:v>0.77</c:v>
                </c:pt>
                <c:pt idx="14">
                  <c:v>0.77</c:v>
                </c:pt>
                <c:pt idx="15">
                  <c:v>0.77</c:v>
                </c:pt>
                <c:pt idx="16">
                  <c:v>0.77</c:v>
                </c:pt>
                <c:pt idx="17">
                  <c:v>0.77</c:v>
                </c:pt>
                <c:pt idx="18">
                  <c:v>0.77</c:v>
                </c:pt>
                <c:pt idx="19">
                  <c:v>0.77</c:v>
                </c:pt>
                <c:pt idx="20">
                  <c:v>0.77</c:v>
                </c:pt>
                <c:pt idx="21">
                  <c:v>0.77</c:v>
                </c:pt>
                <c:pt idx="22">
                  <c:v>0.77</c:v>
                </c:pt>
                <c:pt idx="23">
                  <c:v>0.77</c:v>
                </c:pt>
                <c:pt idx="24">
                  <c:v>0.77</c:v>
                </c:pt>
                <c:pt idx="25">
                  <c:v>0.77</c:v>
                </c:pt>
                <c:pt idx="26">
                  <c:v>0.77</c:v>
                </c:pt>
                <c:pt idx="27">
                  <c:v>0.77</c:v>
                </c:pt>
                <c:pt idx="28">
                  <c:v>0.77</c:v>
                </c:pt>
                <c:pt idx="29">
                  <c:v>0.77</c:v>
                </c:pt>
                <c:pt idx="30">
                  <c:v>0.77</c:v>
                </c:pt>
              </c:numCache>
            </c:numRef>
          </c:val>
          <c:smooth val="0"/>
        </c:ser>
        <c:ser>
          <c:idx val="1"/>
          <c:order val="1"/>
          <c:tx>
            <c:strRef>
              <c:f>Sheet1!$C$1</c:f>
              <c:strCache>
                <c:ptCount val="1"/>
              </c:strCache>
            </c:strRef>
          </c:tx>
          <c:marker>
            <c:symbol val="none"/>
          </c:marker>
          <c:cat>
            <c:numRef>
              <c:f>Sheet1!$A$2:$A$32</c:f>
              <c:numCache>
                <c:formatCode>0.00</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C$2:$C$32</c:f>
              <c:numCache>
                <c:formatCode>General</c:formatCode>
                <c:ptCount val="31"/>
                <c:pt idx="0">
                  <c:v>0.69</c:v>
                </c:pt>
                <c:pt idx="1">
                  <c:v>0.67587865914013112</c:v>
                </c:pt>
                <c:pt idx="2">
                  <c:v>0.68844007695793996</c:v>
                </c:pt>
                <c:pt idx="3">
                  <c:v>0.67565963037102561</c:v>
                </c:pt>
                <c:pt idx="4">
                  <c:v>0.64033427876166027</c:v>
                </c:pt>
                <c:pt idx="5">
                  <c:v>0.65292707632351232</c:v>
                </c:pt>
                <c:pt idx="6">
                  <c:v>0.64609107513483111</c:v>
                </c:pt>
                <c:pt idx="7">
                  <c:v>0.62261572655953912</c:v>
                </c:pt>
                <c:pt idx="8">
                  <c:v>0.6009460172586033</c:v>
                </c:pt>
                <c:pt idx="9">
                  <c:v>0.61209263766885968</c:v>
                </c:pt>
                <c:pt idx="10">
                  <c:v>0.61422734839986159</c:v>
                </c:pt>
                <c:pt idx="11">
                  <c:v>0.61228947630051034</c:v>
                </c:pt>
                <c:pt idx="12">
                  <c:v>0.6388663332099267</c:v>
                </c:pt>
                <c:pt idx="13">
                  <c:v>0.63867984810994083</c:v>
                </c:pt>
                <c:pt idx="14">
                  <c:v>0.6227456315256924</c:v>
                </c:pt>
                <c:pt idx="15">
                  <c:v>0.59621033481969499</c:v>
                </c:pt>
                <c:pt idx="16">
                  <c:v>0.5925889703307502</c:v>
                </c:pt>
                <c:pt idx="17">
                  <c:v>0.57721284631157177</c:v>
                </c:pt>
                <c:pt idx="18">
                  <c:v>0.56017076129351195</c:v>
                </c:pt>
                <c:pt idx="19">
                  <c:v>0.53733813336442904</c:v>
                </c:pt>
                <c:pt idx="20">
                  <c:v>0.54484710781547585</c:v>
                </c:pt>
                <c:pt idx="21">
                  <c:v>0.55698858365559945</c:v>
                </c:pt>
                <c:pt idx="22">
                  <c:v>0.57424808970250318</c:v>
                </c:pt>
                <c:pt idx="23">
                  <c:v>0.56654781491477624</c:v>
                </c:pt>
                <c:pt idx="24">
                  <c:v>0.57437181517910474</c:v>
                </c:pt>
                <c:pt idx="25">
                  <c:v>0.56635859074794803</c:v>
                </c:pt>
                <c:pt idx="26">
                  <c:v>0.56893210554086926</c:v>
                </c:pt>
                <c:pt idx="27">
                  <c:v>0.5845301849969613</c:v>
                </c:pt>
                <c:pt idx="28">
                  <c:v>0.57169211364793604</c:v>
                </c:pt>
                <c:pt idx="29">
                  <c:v>0.58311093358862753</c:v>
                </c:pt>
                <c:pt idx="30">
                  <c:v>0.58311093358862753</c:v>
                </c:pt>
              </c:numCache>
            </c:numRef>
          </c:val>
          <c:smooth val="0"/>
        </c:ser>
        <c:ser>
          <c:idx val="0"/>
          <c:order val="2"/>
          <c:tx>
            <c:strRef>
              <c:f>Sheet1!$B$1</c:f>
              <c:strCache>
                <c:ptCount val="1"/>
              </c:strCache>
            </c:strRef>
          </c:tx>
          <c:spPr>
            <a:ln w="28575">
              <a:solidFill>
                <a:schemeClr val="accent1"/>
              </a:solidFill>
              <a:prstDash val="solid"/>
            </a:ln>
          </c:spPr>
          <c:marker>
            <c:symbol val="none"/>
          </c:marker>
          <c:cat>
            <c:numRef>
              <c:f>Sheet1!$A$2:$A$32</c:f>
              <c:numCache>
                <c:formatCode>0.00</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B$2:$B$32</c:f>
              <c:numCache>
                <c:formatCode>General</c:formatCode>
                <c:ptCount val="31"/>
                <c:pt idx="0">
                  <c:v>0.69</c:v>
                </c:pt>
                <c:pt idx="1">
                  <c:v>0.67356693592238392</c:v>
                </c:pt>
                <c:pt idx="2">
                  <c:v>0.69023027676698823</c:v>
                </c:pt>
                <c:pt idx="3">
                  <c:v>0.72784917260674398</c:v>
                </c:pt>
                <c:pt idx="4">
                  <c:v>0.70318429723854903</c:v>
                </c:pt>
                <c:pt idx="5">
                  <c:v>0.68328145668993212</c:v>
                </c:pt>
                <c:pt idx="6">
                  <c:v>0.70451592317315626</c:v>
                </c:pt>
                <c:pt idx="7">
                  <c:v>0.70783423800615586</c:v>
                </c:pt>
                <c:pt idx="8">
                  <c:v>0.73837669879101764</c:v>
                </c:pt>
                <c:pt idx="9">
                  <c:v>0.76997260216845498</c:v>
                </c:pt>
                <c:pt idx="10">
                  <c:v>0.76702492705289105</c:v>
                </c:pt>
                <c:pt idx="11">
                  <c:v>0.77955471487082051</c:v>
                </c:pt>
                <c:pt idx="12">
                  <c:v>0.77729399160478185</c:v>
                </c:pt>
                <c:pt idx="13">
                  <c:v>0.7695373802252683</c:v>
                </c:pt>
                <c:pt idx="14">
                  <c:v>0.79653322256857595</c:v>
                </c:pt>
                <c:pt idx="15">
                  <c:v>0.8019803624091395</c:v>
                </c:pt>
                <c:pt idx="16">
                  <c:v>0.83286987643907628</c:v>
                </c:pt>
                <c:pt idx="17">
                  <c:v>0.85636566604207143</c:v>
                </c:pt>
                <c:pt idx="18">
                  <c:v>0.84840624921570984</c:v>
                </c:pt>
                <c:pt idx="19">
                  <c:v>0.82352344612697881</c:v>
                </c:pt>
                <c:pt idx="20">
                  <c:v>0.83206763807967732</c:v>
                </c:pt>
                <c:pt idx="21">
                  <c:v>0.82187079606754632</c:v>
                </c:pt>
                <c:pt idx="22">
                  <c:v>0.85072457818513492</c:v>
                </c:pt>
                <c:pt idx="23">
                  <c:v>0.84230937205900691</c:v>
                </c:pt>
                <c:pt idx="24">
                  <c:v>0.8735406419792715</c:v>
                </c:pt>
                <c:pt idx="25">
                  <c:v>0.88108967587930376</c:v>
                </c:pt>
                <c:pt idx="26">
                  <c:v>0.86290638412534892</c:v>
                </c:pt>
                <c:pt idx="27">
                  <c:v>0.85938743789868888</c:v>
                </c:pt>
                <c:pt idx="28">
                  <c:v>0.86236622436693966</c:v>
                </c:pt>
                <c:pt idx="29">
                  <c:v>0.85981844124835649</c:v>
                </c:pt>
                <c:pt idx="30">
                  <c:v>0.85981844124835649</c:v>
                </c:pt>
              </c:numCache>
            </c:numRef>
          </c:val>
          <c:smooth val="0"/>
        </c:ser>
        <c:dLbls>
          <c:showLegendKey val="0"/>
          <c:showVal val="0"/>
          <c:showCatName val="0"/>
          <c:showSerName val="0"/>
          <c:showPercent val="0"/>
          <c:showBubbleSize val="0"/>
        </c:dLbls>
        <c:marker val="1"/>
        <c:smooth val="0"/>
        <c:axId val="52409088"/>
        <c:axId val="52410624"/>
      </c:lineChart>
      <c:dateAx>
        <c:axId val="52409088"/>
        <c:scaling>
          <c:orientation val="minMax"/>
        </c:scaling>
        <c:delete val="0"/>
        <c:axPos val="b"/>
        <c:numFmt formatCode="#,##0" sourceLinked="0"/>
        <c:majorTickMark val="in"/>
        <c:minorTickMark val="in"/>
        <c:tickLblPos val="nextTo"/>
        <c:spPr>
          <a:ln w="3157">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52410624"/>
        <c:crosses val="autoZero"/>
        <c:auto val="0"/>
        <c:lblOffset val="1"/>
        <c:baseTimeUnit val="days"/>
        <c:majorUnit val="5"/>
        <c:majorTimeUnit val="days"/>
      </c:dateAx>
      <c:valAx>
        <c:axId val="52410624"/>
        <c:scaling>
          <c:orientation val="minMax"/>
          <c:min val="0.4"/>
        </c:scaling>
        <c:delete val="0"/>
        <c:axPos val="l"/>
        <c:majorGridlines>
          <c:spPr>
            <a:ln w="12626">
              <a:solidFill>
                <a:schemeClr val="tx2"/>
              </a:solidFill>
              <a:prstDash val="solid"/>
            </a:ln>
          </c:spPr>
        </c:majorGridlines>
        <c:numFmt formatCode="0.0" sourceLinked="0"/>
        <c:majorTickMark val="out"/>
        <c:minorTickMark val="none"/>
        <c:tickLblPos val="nextTo"/>
        <c:spPr>
          <a:ln w="9470">
            <a:noFill/>
          </a:ln>
        </c:spPr>
        <c:txPr>
          <a:bodyPr rot="0" vert="horz"/>
          <a:lstStyle/>
          <a:p>
            <a:pPr>
              <a:defRPr sz="1000" b="0" i="0" u="none" strike="noStrike" baseline="0">
                <a:solidFill>
                  <a:schemeClr val="tx1"/>
                </a:solidFill>
                <a:latin typeface="Arial"/>
                <a:ea typeface="Arial"/>
                <a:cs typeface="Arial"/>
              </a:defRPr>
            </a:pPr>
            <a:endParaRPr lang="en-US"/>
          </a:p>
        </c:txPr>
        <c:crossAx val="52409088"/>
        <c:crosses val="autoZero"/>
        <c:crossBetween val="midCat"/>
      </c:valAx>
      <c:spPr>
        <a:noFill/>
        <a:ln w="25253">
          <a:noFill/>
        </a:ln>
      </c:spPr>
    </c:plotArea>
    <c:plotVisOnly val="1"/>
    <c:dispBlanksAs val="gap"/>
    <c:showDLblsOverMax val="0"/>
  </c:chart>
  <c:spPr>
    <a:noFill/>
    <a:ln>
      <a:noFill/>
    </a:ln>
  </c:spPr>
  <c:txPr>
    <a:bodyPr/>
    <a:lstStyle/>
    <a:p>
      <a:pPr>
        <a:defRPr sz="1392" b="0"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48442896419919E-2"/>
          <c:y val="6.2706631714178881E-2"/>
          <c:w val="0.92504438648523268"/>
          <c:h val="0.84955706436720879"/>
        </c:manualLayout>
      </c:layout>
      <c:barChart>
        <c:barDir val="col"/>
        <c:grouping val="clustered"/>
        <c:varyColors val="0"/>
        <c:ser>
          <c:idx val="0"/>
          <c:order val="0"/>
          <c:tx>
            <c:strRef>
              <c:f>Sheet1!$B$1</c:f>
              <c:strCache>
                <c:ptCount val="1"/>
                <c:pt idx="0">
                  <c:v>Europe</c:v>
                </c:pt>
              </c:strCache>
            </c:strRef>
          </c:tx>
          <c:spPr>
            <a:solidFill>
              <a:schemeClr val="accent1"/>
            </a:solidFill>
            <a:ln w="25313">
              <a:noFill/>
            </a:ln>
          </c:spPr>
          <c:invertIfNegative val="0"/>
          <c:cat>
            <c:numRef>
              <c:f>Sheet1!$A$2:$A$551</c:f>
              <c:numCache>
                <c:formatCode>d\-mmm\-yy</c:formatCode>
                <c:ptCount val="550"/>
                <c:pt idx="0">
                  <c:v>41276</c:v>
                </c:pt>
                <c:pt idx="1">
                  <c:v>41277</c:v>
                </c:pt>
                <c:pt idx="2">
                  <c:v>41278</c:v>
                </c:pt>
                <c:pt idx="3">
                  <c:v>41281</c:v>
                </c:pt>
                <c:pt idx="4">
                  <c:v>41282</c:v>
                </c:pt>
                <c:pt idx="5">
                  <c:v>41283</c:v>
                </c:pt>
                <c:pt idx="6">
                  <c:v>41284</c:v>
                </c:pt>
                <c:pt idx="7">
                  <c:v>41285</c:v>
                </c:pt>
                <c:pt idx="8">
                  <c:v>41288</c:v>
                </c:pt>
                <c:pt idx="9">
                  <c:v>41289</c:v>
                </c:pt>
                <c:pt idx="10">
                  <c:v>41290</c:v>
                </c:pt>
                <c:pt idx="11">
                  <c:v>41291</c:v>
                </c:pt>
                <c:pt idx="12">
                  <c:v>41292</c:v>
                </c:pt>
                <c:pt idx="13">
                  <c:v>41295</c:v>
                </c:pt>
                <c:pt idx="14">
                  <c:v>41296</c:v>
                </c:pt>
                <c:pt idx="15">
                  <c:v>41297</c:v>
                </c:pt>
                <c:pt idx="16">
                  <c:v>41298</c:v>
                </c:pt>
                <c:pt idx="17">
                  <c:v>41299</c:v>
                </c:pt>
                <c:pt idx="18">
                  <c:v>41302</c:v>
                </c:pt>
                <c:pt idx="19">
                  <c:v>41303</c:v>
                </c:pt>
                <c:pt idx="20">
                  <c:v>41304</c:v>
                </c:pt>
                <c:pt idx="21">
                  <c:v>41305</c:v>
                </c:pt>
                <c:pt idx="22">
                  <c:v>41306</c:v>
                </c:pt>
                <c:pt idx="23">
                  <c:v>41309</c:v>
                </c:pt>
                <c:pt idx="24">
                  <c:v>41310</c:v>
                </c:pt>
                <c:pt idx="25">
                  <c:v>41311</c:v>
                </c:pt>
                <c:pt idx="26">
                  <c:v>41312</c:v>
                </c:pt>
                <c:pt idx="27">
                  <c:v>41313</c:v>
                </c:pt>
                <c:pt idx="28">
                  <c:v>41316</c:v>
                </c:pt>
                <c:pt idx="29">
                  <c:v>41317</c:v>
                </c:pt>
                <c:pt idx="30">
                  <c:v>41318</c:v>
                </c:pt>
                <c:pt idx="31">
                  <c:v>41319</c:v>
                </c:pt>
                <c:pt idx="32">
                  <c:v>41320</c:v>
                </c:pt>
                <c:pt idx="33">
                  <c:v>41323</c:v>
                </c:pt>
                <c:pt idx="34">
                  <c:v>41324</c:v>
                </c:pt>
                <c:pt idx="35">
                  <c:v>41325</c:v>
                </c:pt>
                <c:pt idx="36">
                  <c:v>41326</c:v>
                </c:pt>
                <c:pt idx="37">
                  <c:v>41327</c:v>
                </c:pt>
                <c:pt idx="38">
                  <c:v>41330</c:v>
                </c:pt>
                <c:pt idx="39">
                  <c:v>41331</c:v>
                </c:pt>
                <c:pt idx="40">
                  <c:v>41332</c:v>
                </c:pt>
                <c:pt idx="41">
                  <c:v>41333</c:v>
                </c:pt>
                <c:pt idx="42">
                  <c:v>41334</c:v>
                </c:pt>
                <c:pt idx="43">
                  <c:v>41337</c:v>
                </c:pt>
                <c:pt idx="44">
                  <c:v>41338</c:v>
                </c:pt>
                <c:pt idx="45">
                  <c:v>41339</c:v>
                </c:pt>
                <c:pt idx="46">
                  <c:v>41340</c:v>
                </c:pt>
                <c:pt idx="47">
                  <c:v>41341</c:v>
                </c:pt>
                <c:pt idx="48">
                  <c:v>41344</c:v>
                </c:pt>
                <c:pt idx="49">
                  <c:v>41345</c:v>
                </c:pt>
                <c:pt idx="50">
                  <c:v>41346</c:v>
                </c:pt>
                <c:pt idx="51">
                  <c:v>41347</c:v>
                </c:pt>
                <c:pt idx="52">
                  <c:v>41348</c:v>
                </c:pt>
                <c:pt idx="53">
                  <c:v>41351</c:v>
                </c:pt>
                <c:pt idx="54">
                  <c:v>41352</c:v>
                </c:pt>
                <c:pt idx="55">
                  <c:v>41353</c:v>
                </c:pt>
                <c:pt idx="56">
                  <c:v>41354</c:v>
                </c:pt>
                <c:pt idx="57">
                  <c:v>41355</c:v>
                </c:pt>
                <c:pt idx="58">
                  <c:v>41358</c:v>
                </c:pt>
                <c:pt idx="59">
                  <c:v>41359</c:v>
                </c:pt>
                <c:pt idx="60">
                  <c:v>41360</c:v>
                </c:pt>
                <c:pt idx="61">
                  <c:v>41361</c:v>
                </c:pt>
                <c:pt idx="62">
                  <c:v>41366</c:v>
                </c:pt>
                <c:pt idx="63">
                  <c:v>41367</c:v>
                </c:pt>
                <c:pt idx="64">
                  <c:v>41368</c:v>
                </c:pt>
                <c:pt idx="65">
                  <c:v>41369</c:v>
                </c:pt>
                <c:pt idx="66">
                  <c:v>41372</c:v>
                </c:pt>
                <c:pt idx="67">
                  <c:v>41373</c:v>
                </c:pt>
                <c:pt idx="68">
                  <c:v>41374</c:v>
                </c:pt>
                <c:pt idx="69">
                  <c:v>41375</c:v>
                </c:pt>
                <c:pt idx="70">
                  <c:v>41376</c:v>
                </c:pt>
                <c:pt idx="71">
                  <c:v>41379</c:v>
                </c:pt>
                <c:pt idx="72">
                  <c:v>41380</c:v>
                </c:pt>
                <c:pt idx="73">
                  <c:v>41381</c:v>
                </c:pt>
                <c:pt idx="74">
                  <c:v>41382</c:v>
                </c:pt>
                <c:pt idx="75">
                  <c:v>41383</c:v>
                </c:pt>
                <c:pt idx="76">
                  <c:v>41386</c:v>
                </c:pt>
                <c:pt idx="77">
                  <c:v>41387</c:v>
                </c:pt>
                <c:pt idx="78">
                  <c:v>41388</c:v>
                </c:pt>
                <c:pt idx="79">
                  <c:v>41389</c:v>
                </c:pt>
                <c:pt idx="80">
                  <c:v>41390</c:v>
                </c:pt>
                <c:pt idx="81">
                  <c:v>41393</c:v>
                </c:pt>
                <c:pt idx="82">
                  <c:v>41394</c:v>
                </c:pt>
                <c:pt idx="83">
                  <c:v>41395</c:v>
                </c:pt>
                <c:pt idx="84">
                  <c:v>41396</c:v>
                </c:pt>
                <c:pt idx="85">
                  <c:v>41397</c:v>
                </c:pt>
                <c:pt idx="86">
                  <c:v>41400</c:v>
                </c:pt>
                <c:pt idx="87">
                  <c:v>41401</c:v>
                </c:pt>
                <c:pt idx="88">
                  <c:v>41402</c:v>
                </c:pt>
                <c:pt idx="89">
                  <c:v>41403</c:v>
                </c:pt>
                <c:pt idx="90">
                  <c:v>41404</c:v>
                </c:pt>
                <c:pt idx="91">
                  <c:v>41407</c:v>
                </c:pt>
                <c:pt idx="92">
                  <c:v>41408</c:v>
                </c:pt>
                <c:pt idx="93">
                  <c:v>41409</c:v>
                </c:pt>
                <c:pt idx="94">
                  <c:v>41410</c:v>
                </c:pt>
                <c:pt idx="95">
                  <c:v>41411</c:v>
                </c:pt>
                <c:pt idx="96">
                  <c:v>41414</c:v>
                </c:pt>
                <c:pt idx="97">
                  <c:v>41415</c:v>
                </c:pt>
                <c:pt idx="98">
                  <c:v>41416</c:v>
                </c:pt>
                <c:pt idx="99">
                  <c:v>41417</c:v>
                </c:pt>
                <c:pt idx="100">
                  <c:v>41418</c:v>
                </c:pt>
                <c:pt idx="101">
                  <c:v>41421</c:v>
                </c:pt>
                <c:pt idx="102">
                  <c:v>41422</c:v>
                </c:pt>
                <c:pt idx="103">
                  <c:v>41423</c:v>
                </c:pt>
                <c:pt idx="104">
                  <c:v>41424</c:v>
                </c:pt>
                <c:pt idx="105">
                  <c:v>41425</c:v>
                </c:pt>
                <c:pt idx="106">
                  <c:v>41428</c:v>
                </c:pt>
                <c:pt idx="107">
                  <c:v>41429</c:v>
                </c:pt>
                <c:pt idx="108">
                  <c:v>41430</c:v>
                </c:pt>
                <c:pt idx="109">
                  <c:v>41431</c:v>
                </c:pt>
                <c:pt idx="110">
                  <c:v>41432</c:v>
                </c:pt>
                <c:pt idx="111">
                  <c:v>41435</c:v>
                </c:pt>
                <c:pt idx="112">
                  <c:v>41436</c:v>
                </c:pt>
                <c:pt idx="113">
                  <c:v>41437</c:v>
                </c:pt>
                <c:pt idx="114">
                  <c:v>41438</c:v>
                </c:pt>
                <c:pt idx="115">
                  <c:v>41439</c:v>
                </c:pt>
                <c:pt idx="116">
                  <c:v>41442</c:v>
                </c:pt>
                <c:pt idx="117">
                  <c:v>41443</c:v>
                </c:pt>
                <c:pt idx="118">
                  <c:v>41444</c:v>
                </c:pt>
                <c:pt idx="119">
                  <c:v>41445</c:v>
                </c:pt>
                <c:pt idx="120">
                  <c:v>41446</c:v>
                </c:pt>
                <c:pt idx="121">
                  <c:v>41449</c:v>
                </c:pt>
                <c:pt idx="122">
                  <c:v>41450</c:v>
                </c:pt>
                <c:pt idx="123">
                  <c:v>41451</c:v>
                </c:pt>
                <c:pt idx="124">
                  <c:v>41452</c:v>
                </c:pt>
                <c:pt idx="125">
                  <c:v>41453</c:v>
                </c:pt>
                <c:pt idx="126">
                  <c:v>41456</c:v>
                </c:pt>
                <c:pt idx="127">
                  <c:v>41457</c:v>
                </c:pt>
                <c:pt idx="128">
                  <c:v>41458</c:v>
                </c:pt>
                <c:pt idx="129">
                  <c:v>41459</c:v>
                </c:pt>
                <c:pt idx="130">
                  <c:v>41460</c:v>
                </c:pt>
                <c:pt idx="131">
                  <c:v>41463</c:v>
                </c:pt>
                <c:pt idx="132">
                  <c:v>41464</c:v>
                </c:pt>
                <c:pt idx="133">
                  <c:v>41465</c:v>
                </c:pt>
                <c:pt idx="134">
                  <c:v>41466</c:v>
                </c:pt>
                <c:pt idx="135">
                  <c:v>41467</c:v>
                </c:pt>
                <c:pt idx="136">
                  <c:v>41470</c:v>
                </c:pt>
                <c:pt idx="137">
                  <c:v>41471</c:v>
                </c:pt>
                <c:pt idx="138">
                  <c:v>41472</c:v>
                </c:pt>
                <c:pt idx="139">
                  <c:v>41473</c:v>
                </c:pt>
                <c:pt idx="140">
                  <c:v>41474</c:v>
                </c:pt>
                <c:pt idx="141">
                  <c:v>41477</c:v>
                </c:pt>
                <c:pt idx="142">
                  <c:v>41478</c:v>
                </c:pt>
                <c:pt idx="143">
                  <c:v>41479</c:v>
                </c:pt>
                <c:pt idx="144">
                  <c:v>41480</c:v>
                </c:pt>
                <c:pt idx="145">
                  <c:v>41481</c:v>
                </c:pt>
                <c:pt idx="146">
                  <c:v>41484</c:v>
                </c:pt>
                <c:pt idx="147">
                  <c:v>41485</c:v>
                </c:pt>
                <c:pt idx="148">
                  <c:v>41486</c:v>
                </c:pt>
                <c:pt idx="149">
                  <c:v>41487</c:v>
                </c:pt>
                <c:pt idx="150">
                  <c:v>41488</c:v>
                </c:pt>
                <c:pt idx="151">
                  <c:v>41491</c:v>
                </c:pt>
                <c:pt idx="152">
                  <c:v>41492</c:v>
                </c:pt>
                <c:pt idx="153">
                  <c:v>41493</c:v>
                </c:pt>
                <c:pt idx="154">
                  <c:v>41494</c:v>
                </c:pt>
                <c:pt idx="155">
                  <c:v>41495</c:v>
                </c:pt>
                <c:pt idx="156">
                  <c:v>41498</c:v>
                </c:pt>
                <c:pt idx="157">
                  <c:v>41499</c:v>
                </c:pt>
                <c:pt idx="158">
                  <c:v>41500</c:v>
                </c:pt>
                <c:pt idx="159">
                  <c:v>41501</c:v>
                </c:pt>
                <c:pt idx="160">
                  <c:v>41502</c:v>
                </c:pt>
                <c:pt idx="161">
                  <c:v>41505</c:v>
                </c:pt>
                <c:pt idx="162">
                  <c:v>41506</c:v>
                </c:pt>
                <c:pt idx="163">
                  <c:v>41507</c:v>
                </c:pt>
                <c:pt idx="164">
                  <c:v>41508</c:v>
                </c:pt>
                <c:pt idx="165">
                  <c:v>41509</c:v>
                </c:pt>
                <c:pt idx="166">
                  <c:v>41512</c:v>
                </c:pt>
                <c:pt idx="167">
                  <c:v>41513</c:v>
                </c:pt>
                <c:pt idx="168">
                  <c:v>41514</c:v>
                </c:pt>
                <c:pt idx="169">
                  <c:v>41515</c:v>
                </c:pt>
                <c:pt idx="170">
                  <c:v>41516</c:v>
                </c:pt>
                <c:pt idx="171">
                  <c:v>41519</c:v>
                </c:pt>
                <c:pt idx="172">
                  <c:v>41520</c:v>
                </c:pt>
                <c:pt idx="173">
                  <c:v>41521</c:v>
                </c:pt>
                <c:pt idx="174">
                  <c:v>41522</c:v>
                </c:pt>
                <c:pt idx="175">
                  <c:v>41523</c:v>
                </c:pt>
                <c:pt idx="176">
                  <c:v>41526</c:v>
                </c:pt>
                <c:pt idx="177">
                  <c:v>41527</c:v>
                </c:pt>
                <c:pt idx="178">
                  <c:v>41528</c:v>
                </c:pt>
                <c:pt idx="179">
                  <c:v>41529</c:v>
                </c:pt>
                <c:pt idx="180">
                  <c:v>41530</c:v>
                </c:pt>
                <c:pt idx="181">
                  <c:v>41533</c:v>
                </c:pt>
                <c:pt idx="182">
                  <c:v>41534</c:v>
                </c:pt>
                <c:pt idx="183">
                  <c:v>41535</c:v>
                </c:pt>
                <c:pt idx="184">
                  <c:v>41536</c:v>
                </c:pt>
                <c:pt idx="185">
                  <c:v>41537</c:v>
                </c:pt>
                <c:pt idx="186">
                  <c:v>41540</c:v>
                </c:pt>
                <c:pt idx="187">
                  <c:v>41541</c:v>
                </c:pt>
                <c:pt idx="188">
                  <c:v>41542</c:v>
                </c:pt>
                <c:pt idx="189">
                  <c:v>41543</c:v>
                </c:pt>
                <c:pt idx="190">
                  <c:v>41544</c:v>
                </c:pt>
                <c:pt idx="191">
                  <c:v>41547</c:v>
                </c:pt>
                <c:pt idx="192">
                  <c:v>41548</c:v>
                </c:pt>
                <c:pt idx="193">
                  <c:v>41549</c:v>
                </c:pt>
                <c:pt idx="194">
                  <c:v>41550</c:v>
                </c:pt>
                <c:pt idx="195">
                  <c:v>41551</c:v>
                </c:pt>
                <c:pt idx="196">
                  <c:v>41554</c:v>
                </c:pt>
                <c:pt idx="197">
                  <c:v>41555</c:v>
                </c:pt>
                <c:pt idx="198">
                  <c:v>41556</c:v>
                </c:pt>
                <c:pt idx="199">
                  <c:v>41557</c:v>
                </c:pt>
                <c:pt idx="200">
                  <c:v>41558</c:v>
                </c:pt>
                <c:pt idx="201">
                  <c:v>41561</c:v>
                </c:pt>
                <c:pt idx="202">
                  <c:v>41562</c:v>
                </c:pt>
                <c:pt idx="203">
                  <c:v>41563</c:v>
                </c:pt>
                <c:pt idx="204">
                  <c:v>41564</c:v>
                </c:pt>
                <c:pt idx="205">
                  <c:v>41565</c:v>
                </c:pt>
                <c:pt idx="206">
                  <c:v>41568</c:v>
                </c:pt>
                <c:pt idx="207">
                  <c:v>41569</c:v>
                </c:pt>
                <c:pt idx="208">
                  <c:v>41570</c:v>
                </c:pt>
                <c:pt idx="209">
                  <c:v>41571</c:v>
                </c:pt>
                <c:pt idx="210">
                  <c:v>41572</c:v>
                </c:pt>
                <c:pt idx="211">
                  <c:v>41575</c:v>
                </c:pt>
                <c:pt idx="212">
                  <c:v>41576</c:v>
                </c:pt>
                <c:pt idx="213">
                  <c:v>41577</c:v>
                </c:pt>
                <c:pt idx="214">
                  <c:v>41578</c:v>
                </c:pt>
                <c:pt idx="215">
                  <c:v>41579</c:v>
                </c:pt>
                <c:pt idx="216">
                  <c:v>41582</c:v>
                </c:pt>
                <c:pt idx="217">
                  <c:v>41583</c:v>
                </c:pt>
                <c:pt idx="218">
                  <c:v>41584</c:v>
                </c:pt>
                <c:pt idx="219">
                  <c:v>41585</c:v>
                </c:pt>
                <c:pt idx="220">
                  <c:v>41586</c:v>
                </c:pt>
                <c:pt idx="221">
                  <c:v>41589</c:v>
                </c:pt>
                <c:pt idx="222">
                  <c:v>41590</c:v>
                </c:pt>
                <c:pt idx="223">
                  <c:v>41591</c:v>
                </c:pt>
                <c:pt idx="224">
                  <c:v>41592</c:v>
                </c:pt>
                <c:pt idx="225">
                  <c:v>41593</c:v>
                </c:pt>
                <c:pt idx="226">
                  <c:v>41596</c:v>
                </c:pt>
                <c:pt idx="227">
                  <c:v>41597</c:v>
                </c:pt>
                <c:pt idx="228">
                  <c:v>41598</c:v>
                </c:pt>
                <c:pt idx="229">
                  <c:v>41599</c:v>
                </c:pt>
                <c:pt idx="230">
                  <c:v>41600</c:v>
                </c:pt>
                <c:pt idx="231">
                  <c:v>41603</c:v>
                </c:pt>
                <c:pt idx="232">
                  <c:v>41604</c:v>
                </c:pt>
                <c:pt idx="233">
                  <c:v>41605</c:v>
                </c:pt>
                <c:pt idx="234">
                  <c:v>41606</c:v>
                </c:pt>
                <c:pt idx="235">
                  <c:v>41607</c:v>
                </c:pt>
                <c:pt idx="236">
                  <c:v>41610</c:v>
                </c:pt>
                <c:pt idx="237">
                  <c:v>41611</c:v>
                </c:pt>
                <c:pt idx="238">
                  <c:v>41612</c:v>
                </c:pt>
                <c:pt idx="239">
                  <c:v>41613</c:v>
                </c:pt>
                <c:pt idx="240">
                  <c:v>41614</c:v>
                </c:pt>
                <c:pt idx="241">
                  <c:v>41617</c:v>
                </c:pt>
                <c:pt idx="242">
                  <c:v>41618</c:v>
                </c:pt>
                <c:pt idx="243">
                  <c:v>41619</c:v>
                </c:pt>
                <c:pt idx="244">
                  <c:v>41620</c:v>
                </c:pt>
                <c:pt idx="245">
                  <c:v>41621</c:v>
                </c:pt>
                <c:pt idx="246">
                  <c:v>41624</c:v>
                </c:pt>
                <c:pt idx="247">
                  <c:v>41625</c:v>
                </c:pt>
                <c:pt idx="248">
                  <c:v>41626</c:v>
                </c:pt>
                <c:pt idx="249">
                  <c:v>41627</c:v>
                </c:pt>
                <c:pt idx="250">
                  <c:v>41628</c:v>
                </c:pt>
                <c:pt idx="251">
                  <c:v>41631</c:v>
                </c:pt>
                <c:pt idx="252">
                  <c:v>41632</c:v>
                </c:pt>
                <c:pt idx="253">
                  <c:v>41635</c:v>
                </c:pt>
                <c:pt idx="254">
                  <c:v>41638</c:v>
                </c:pt>
                <c:pt idx="255">
                  <c:v>41639</c:v>
                </c:pt>
                <c:pt idx="256">
                  <c:v>41641</c:v>
                </c:pt>
                <c:pt idx="257">
                  <c:v>41642</c:v>
                </c:pt>
                <c:pt idx="258">
                  <c:v>41645</c:v>
                </c:pt>
                <c:pt idx="259">
                  <c:v>41646</c:v>
                </c:pt>
                <c:pt idx="260">
                  <c:v>41647</c:v>
                </c:pt>
                <c:pt idx="261">
                  <c:v>41648</c:v>
                </c:pt>
                <c:pt idx="262">
                  <c:v>41649</c:v>
                </c:pt>
                <c:pt idx="263">
                  <c:v>41652</c:v>
                </c:pt>
                <c:pt idx="264">
                  <c:v>41653</c:v>
                </c:pt>
                <c:pt idx="265">
                  <c:v>41654</c:v>
                </c:pt>
                <c:pt idx="266">
                  <c:v>41655</c:v>
                </c:pt>
                <c:pt idx="267">
                  <c:v>41656</c:v>
                </c:pt>
                <c:pt idx="268">
                  <c:v>41659</c:v>
                </c:pt>
                <c:pt idx="269">
                  <c:v>41660</c:v>
                </c:pt>
                <c:pt idx="270">
                  <c:v>41661</c:v>
                </c:pt>
                <c:pt idx="271">
                  <c:v>41662</c:v>
                </c:pt>
                <c:pt idx="272">
                  <c:v>41663</c:v>
                </c:pt>
                <c:pt idx="273">
                  <c:v>41666</c:v>
                </c:pt>
                <c:pt idx="274">
                  <c:v>41667</c:v>
                </c:pt>
                <c:pt idx="275">
                  <c:v>41668</c:v>
                </c:pt>
                <c:pt idx="276">
                  <c:v>41669</c:v>
                </c:pt>
                <c:pt idx="277">
                  <c:v>41670</c:v>
                </c:pt>
                <c:pt idx="278">
                  <c:v>41673</c:v>
                </c:pt>
                <c:pt idx="279">
                  <c:v>41674</c:v>
                </c:pt>
                <c:pt idx="280">
                  <c:v>41675</c:v>
                </c:pt>
                <c:pt idx="281">
                  <c:v>41676</c:v>
                </c:pt>
                <c:pt idx="282">
                  <c:v>41677</c:v>
                </c:pt>
                <c:pt idx="283">
                  <c:v>41680</c:v>
                </c:pt>
                <c:pt idx="284">
                  <c:v>41681</c:v>
                </c:pt>
                <c:pt idx="285">
                  <c:v>41682</c:v>
                </c:pt>
                <c:pt idx="286">
                  <c:v>41683</c:v>
                </c:pt>
                <c:pt idx="287">
                  <c:v>41684</c:v>
                </c:pt>
                <c:pt idx="288">
                  <c:v>41687</c:v>
                </c:pt>
                <c:pt idx="289">
                  <c:v>41688</c:v>
                </c:pt>
                <c:pt idx="290">
                  <c:v>41689</c:v>
                </c:pt>
                <c:pt idx="291">
                  <c:v>41690</c:v>
                </c:pt>
                <c:pt idx="292">
                  <c:v>41691</c:v>
                </c:pt>
                <c:pt idx="293">
                  <c:v>41694</c:v>
                </c:pt>
                <c:pt idx="294">
                  <c:v>41695</c:v>
                </c:pt>
                <c:pt idx="295">
                  <c:v>41696</c:v>
                </c:pt>
                <c:pt idx="296">
                  <c:v>41697</c:v>
                </c:pt>
                <c:pt idx="297">
                  <c:v>41698</c:v>
                </c:pt>
                <c:pt idx="298">
                  <c:v>41701</c:v>
                </c:pt>
                <c:pt idx="299">
                  <c:v>41702</c:v>
                </c:pt>
                <c:pt idx="300">
                  <c:v>41703</c:v>
                </c:pt>
                <c:pt idx="301">
                  <c:v>41704</c:v>
                </c:pt>
                <c:pt idx="302">
                  <c:v>41705</c:v>
                </c:pt>
                <c:pt idx="303">
                  <c:v>41708</c:v>
                </c:pt>
                <c:pt idx="304">
                  <c:v>41709</c:v>
                </c:pt>
                <c:pt idx="305">
                  <c:v>41710</c:v>
                </c:pt>
                <c:pt idx="306">
                  <c:v>41711</c:v>
                </c:pt>
                <c:pt idx="307">
                  <c:v>41712</c:v>
                </c:pt>
                <c:pt idx="308">
                  <c:v>41715</c:v>
                </c:pt>
                <c:pt idx="309">
                  <c:v>41716</c:v>
                </c:pt>
                <c:pt idx="310">
                  <c:v>41717</c:v>
                </c:pt>
                <c:pt idx="311">
                  <c:v>41718</c:v>
                </c:pt>
                <c:pt idx="312">
                  <c:v>41719</c:v>
                </c:pt>
                <c:pt idx="313">
                  <c:v>41722</c:v>
                </c:pt>
                <c:pt idx="314">
                  <c:v>41723</c:v>
                </c:pt>
                <c:pt idx="315">
                  <c:v>41724</c:v>
                </c:pt>
                <c:pt idx="316">
                  <c:v>41725</c:v>
                </c:pt>
                <c:pt idx="317">
                  <c:v>41726</c:v>
                </c:pt>
                <c:pt idx="318">
                  <c:v>41729</c:v>
                </c:pt>
                <c:pt idx="319">
                  <c:v>41730</c:v>
                </c:pt>
                <c:pt idx="320">
                  <c:v>41731</c:v>
                </c:pt>
                <c:pt idx="321">
                  <c:v>41732</c:v>
                </c:pt>
                <c:pt idx="322">
                  <c:v>41733</c:v>
                </c:pt>
                <c:pt idx="323">
                  <c:v>41736</c:v>
                </c:pt>
                <c:pt idx="324">
                  <c:v>41737</c:v>
                </c:pt>
                <c:pt idx="325">
                  <c:v>41738</c:v>
                </c:pt>
                <c:pt idx="326">
                  <c:v>41739</c:v>
                </c:pt>
                <c:pt idx="327">
                  <c:v>41740</c:v>
                </c:pt>
                <c:pt idx="328">
                  <c:v>41743</c:v>
                </c:pt>
                <c:pt idx="329">
                  <c:v>41744</c:v>
                </c:pt>
                <c:pt idx="330">
                  <c:v>41745</c:v>
                </c:pt>
                <c:pt idx="331">
                  <c:v>41746</c:v>
                </c:pt>
                <c:pt idx="332">
                  <c:v>41751</c:v>
                </c:pt>
                <c:pt idx="333">
                  <c:v>41752</c:v>
                </c:pt>
                <c:pt idx="334">
                  <c:v>41753</c:v>
                </c:pt>
                <c:pt idx="335">
                  <c:v>41754</c:v>
                </c:pt>
                <c:pt idx="336">
                  <c:v>41757</c:v>
                </c:pt>
                <c:pt idx="337">
                  <c:v>41758</c:v>
                </c:pt>
                <c:pt idx="338">
                  <c:v>41759</c:v>
                </c:pt>
                <c:pt idx="339">
                  <c:v>41760</c:v>
                </c:pt>
                <c:pt idx="340">
                  <c:v>41761</c:v>
                </c:pt>
                <c:pt idx="341">
                  <c:v>41764</c:v>
                </c:pt>
                <c:pt idx="342">
                  <c:v>41765</c:v>
                </c:pt>
                <c:pt idx="343">
                  <c:v>41766</c:v>
                </c:pt>
                <c:pt idx="344">
                  <c:v>41767</c:v>
                </c:pt>
                <c:pt idx="345">
                  <c:v>41768</c:v>
                </c:pt>
                <c:pt idx="346">
                  <c:v>41771</c:v>
                </c:pt>
                <c:pt idx="347">
                  <c:v>41772</c:v>
                </c:pt>
                <c:pt idx="348">
                  <c:v>41773</c:v>
                </c:pt>
                <c:pt idx="349">
                  <c:v>41774</c:v>
                </c:pt>
                <c:pt idx="350">
                  <c:v>41775</c:v>
                </c:pt>
                <c:pt idx="351">
                  <c:v>41778</c:v>
                </c:pt>
                <c:pt idx="352">
                  <c:v>41779</c:v>
                </c:pt>
                <c:pt idx="353">
                  <c:v>41780</c:v>
                </c:pt>
                <c:pt idx="354">
                  <c:v>41781</c:v>
                </c:pt>
                <c:pt idx="355">
                  <c:v>41782</c:v>
                </c:pt>
                <c:pt idx="356">
                  <c:v>41785</c:v>
                </c:pt>
                <c:pt idx="357">
                  <c:v>41786</c:v>
                </c:pt>
                <c:pt idx="358">
                  <c:v>41787</c:v>
                </c:pt>
                <c:pt idx="359">
                  <c:v>41788</c:v>
                </c:pt>
                <c:pt idx="360">
                  <c:v>41789</c:v>
                </c:pt>
                <c:pt idx="361">
                  <c:v>41792</c:v>
                </c:pt>
                <c:pt idx="362">
                  <c:v>41793</c:v>
                </c:pt>
                <c:pt idx="363">
                  <c:v>41794</c:v>
                </c:pt>
                <c:pt idx="364">
                  <c:v>41795</c:v>
                </c:pt>
                <c:pt idx="365">
                  <c:v>41796</c:v>
                </c:pt>
                <c:pt idx="366">
                  <c:v>41799</c:v>
                </c:pt>
                <c:pt idx="367">
                  <c:v>41800</c:v>
                </c:pt>
                <c:pt idx="368">
                  <c:v>41801</c:v>
                </c:pt>
                <c:pt idx="369">
                  <c:v>41802</c:v>
                </c:pt>
                <c:pt idx="370">
                  <c:v>41803</c:v>
                </c:pt>
                <c:pt idx="371">
                  <c:v>41806</c:v>
                </c:pt>
                <c:pt idx="372">
                  <c:v>41807</c:v>
                </c:pt>
                <c:pt idx="373">
                  <c:v>41808</c:v>
                </c:pt>
                <c:pt idx="374">
                  <c:v>41809</c:v>
                </c:pt>
                <c:pt idx="375">
                  <c:v>41810</c:v>
                </c:pt>
                <c:pt idx="376">
                  <c:v>41813</c:v>
                </c:pt>
                <c:pt idx="377">
                  <c:v>41814</c:v>
                </c:pt>
                <c:pt idx="378">
                  <c:v>41815</c:v>
                </c:pt>
                <c:pt idx="379">
                  <c:v>41816</c:v>
                </c:pt>
                <c:pt idx="380">
                  <c:v>41817</c:v>
                </c:pt>
                <c:pt idx="381">
                  <c:v>41820</c:v>
                </c:pt>
                <c:pt idx="382">
                  <c:v>41821</c:v>
                </c:pt>
                <c:pt idx="383">
                  <c:v>41822</c:v>
                </c:pt>
                <c:pt idx="384">
                  <c:v>41823</c:v>
                </c:pt>
                <c:pt idx="385">
                  <c:v>41824</c:v>
                </c:pt>
                <c:pt idx="386">
                  <c:v>41827</c:v>
                </c:pt>
                <c:pt idx="387">
                  <c:v>41828</c:v>
                </c:pt>
                <c:pt idx="388">
                  <c:v>41829</c:v>
                </c:pt>
                <c:pt idx="389">
                  <c:v>41830</c:v>
                </c:pt>
                <c:pt idx="390">
                  <c:v>41831</c:v>
                </c:pt>
                <c:pt idx="391">
                  <c:v>41834</c:v>
                </c:pt>
                <c:pt idx="392">
                  <c:v>41835</c:v>
                </c:pt>
                <c:pt idx="393">
                  <c:v>41836</c:v>
                </c:pt>
                <c:pt idx="394">
                  <c:v>41837</c:v>
                </c:pt>
                <c:pt idx="395">
                  <c:v>41838</c:v>
                </c:pt>
                <c:pt idx="396">
                  <c:v>41841</c:v>
                </c:pt>
                <c:pt idx="397">
                  <c:v>41842</c:v>
                </c:pt>
                <c:pt idx="398">
                  <c:v>41843</c:v>
                </c:pt>
                <c:pt idx="399">
                  <c:v>41844</c:v>
                </c:pt>
                <c:pt idx="400">
                  <c:v>41845</c:v>
                </c:pt>
                <c:pt idx="401">
                  <c:v>41848</c:v>
                </c:pt>
                <c:pt idx="402">
                  <c:v>41849</c:v>
                </c:pt>
                <c:pt idx="403">
                  <c:v>41850</c:v>
                </c:pt>
                <c:pt idx="404">
                  <c:v>41851</c:v>
                </c:pt>
                <c:pt idx="405">
                  <c:v>41852</c:v>
                </c:pt>
                <c:pt idx="406">
                  <c:v>41855</c:v>
                </c:pt>
                <c:pt idx="407">
                  <c:v>41856</c:v>
                </c:pt>
                <c:pt idx="408">
                  <c:v>41857</c:v>
                </c:pt>
                <c:pt idx="409">
                  <c:v>41858</c:v>
                </c:pt>
                <c:pt idx="410">
                  <c:v>41859</c:v>
                </c:pt>
                <c:pt idx="411">
                  <c:v>41862</c:v>
                </c:pt>
                <c:pt idx="412">
                  <c:v>41863</c:v>
                </c:pt>
                <c:pt idx="413">
                  <c:v>41864</c:v>
                </c:pt>
                <c:pt idx="414">
                  <c:v>41865</c:v>
                </c:pt>
                <c:pt idx="415">
                  <c:v>41866</c:v>
                </c:pt>
                <c:pt idx="416">
                  <c:v>41869</c:v>
                </c:pt>
                <c:pt idx="417">
                  <c:v>41870</c:v>
                </c:pt>
                <c:pt idx="418">
                  <c:v>41871</c:v>
                </c:pt>
                <c:pt idx="419">
                  <c:v>41872</c:v>
                </c:pt>
                <c:pt idx="420">
                  <c:v>41873</c:v>
                </c:pt>
                <c:pt idx="421">
                  <c:v>41876</c:v>
                </c:pt>
                <c:pt idx="422">
                  <c:v>41877</c:v>
                </c:pt>
                <c:pt idx="423">
                  <c:v>41878</c:v>
                </c:pt>
                <c:pt idx="424">
                  <c:v>41879</c:v>
                </c:pt>
                <c:pt idx="425">
                  <c:v>41880</c:v>
                </c:pt>
                <c:pt idx="426">
                  <c:v>41883</c:v>
                </c:pt>
                <c:pt idx="427">
                  <c:v>41884</c:v>
                </c:pt>
                <c:pt idx="428">
                  <c:v>41885</c:v>
                </c:pt>
                <c:pt idx="429">
                  <c:v>41886</c:v>
                </c:pt>
                <c:pt idx="430">
                  <c:v>41887</c:v>
                </c:pt>
                <c:pt idx="431">
                  <c:v>41890</c:v>
                </c:pt>
                <c:pt idx="432">
                  <c:v>41891</c:v>
                </c:pt>
                <c:pt idx="433">
                  <c:v>41892</c:v>
                </c:pt>
                <c:pt idx="434">
                  <c:v>41893</c:v>
                </c:pt>
                <c:pt idx="435">
                  <c:v>41894</c:v>
                </c:pt>
                <c:pt idx="436">
                  <c:v>41897</c:v>
                </c:pt>
                <c:pt idx="437">
                  <c:v>41898</c:v>
                </c:pt>
                <c:pt idx="438">
                  <c:v>41899</c:v>
                </c:pt>
                <c:pt idx="439">
                  <c:v>41900</c:v>
                </c:pt>
                <c:pt idx="440">
                  <c:v>41901</c:v>
                </c:pt>
                <c:pt idx="441">
                  <c:v>41904</c:v>
                </c:pt>
                <c:pt idx="442">
                  <c:v>41905</c:v>
                </c:pt>
                <c:pt idx="443">
                  <c:v>41906</c:v>
                </c:pt>
                <c:pt idx="444">
                  <c:v>41907</c:v>
                </c:pt>
                <c:pt idx="445">
                  <c:v>41908</c:v>
                </c:pt>
                <c:pt idx="446">
                  <c:v>41911</c:v>
                </c:pt>
                <c:pt idx="447">
                  <c:v>41912</c:v>
                </c:pt>
                <c:pt idx="448">
                  <c:v>41913</c:v>
                </c:pt>
                <c:pt idx="449">
                  <c:v>41914</c:v>
                </c:pt>
                <c:pt idx="450">
                  <c:v>41915</c:v>
                </c:pt>
                <c:pt idx="451">
                  <c:v>41918</c:v>
                </c:pt>
                <c:pt idx="452">
                  <c:v>41919</c:v>
                </c:pt>
                <c:pt idx="453">
                  <c:v>41920</c:v>
                </c:pt>
                <c:pt idx="454">
                  <c:v>41921</c:v>
                </c:pt>
                <c:pt idx="455">
                  <c:v>41922</c:v>
                </c:pt>
                <c:pt idx="456">
                  <c:v>41925</c:v>
                </c:pt>
                <c:pt idx="457">
                  <c:v>41926</c:v>
                </c:pt>
                <c:pt idx="458">
                  <c:v>41927</c:v>
                </c:pt>
                <c:pt idx="459">
                  <c:v>41928</c:v>
                </c:pt>
                <c:pt idx="460">
                  <c:v>41929</c:v>
                </c:pt>
                <c:pt idx="461">
                  <c:v>41932</c:v>
                </c:pt>
                <c:pt idx="462">
                  <c:v>41933</c:v>
                </c:pt>
                <c:pt idx="463">
                  <c:v>41934</c:v>
                </c:pt>
                <c:pt idx="464">
                  <c:v>41935</c:v>
                </c:pt>
                <c:pt idx="465">
                  <c:v>41936</c:v>
                </c:pt>
                <c:pt idx="466">
                  <c:v>41939</c:v>
                </c:pt>
                <c:pt idx="467">
                  <c:v>41940</c:v>
                </c:pt>
                <c:pt idx="468">
                  <c:v>41941</c:v>
                </c:pt>
                <c:pt idx="469">
                  <c:v>41942</c:v>
                </c:pt>
                <c:pt idx="470">
                  <c:v>41943</c:v>
                </c:pt>
                <c:pt idx="471">
                  <c:v>41946</c:v>
                </c:pt>
                <c:pt idx="472">
                  <c:v>41947</c:v>
                </c:pt>
                <c:pt idx="473">
                  <c:v>41948</c:v>
                </c:pt>
                <c:pt idx="474">
                  <c:v>41949</c:v>
                </c:pt>
                <c:pt idx="475">
                  <c:v>41950</c:v>
                </c:pt>
                <c:pt idx="476">
                  <c:v>41953</c:v>
                </c:pt>
                <c:pt idx="477">
                  <c:v>41954</c:v>
                </c:pt>
                <c:pt idx="478">
                  <c:v>41955</c:v>
                </c:pt>
                <c:pt idx="479">
                  <c:v>41956</c:v>
                </c:pt>
                <c:pt idx="480">
                  <c:v>41957</c:v>
                </c:pt>
                <c:pt idx="481">
                  <c:v>41960</c:v>
                </c:pt>
                <c:pt idx="482">
                  <c:v>41961</c:v>
                </c:pt>
                <c:pt idx="483">
                  <c:v>41962</c:v>
                </c:pt>
                <c:pt idx="484">
                  <c:v>41963</c:v>
                </c:pt>
                <c:pt idx="485">
                  <c:v>41964</c:v>
                </c:pt>
                <c:pt idx="486">
                  <c:v>41967</c:v>
                </c:pt>
                <c:pt idx="487">
                  <c:v>41968</c:v>
                </c:pt>
                <c:pt idx="488">
                  <c:v>41969</c:v>
                </c:pt>
                <c:pt idx="489">
                  <c:v>41970</c:v>
                </c:pt>
                <c:pt idx="490">
                  <c:v>41971</c:v>
                </c:pt>
                <c:pt idx="491">
                  <c:v>41974</c:v>
                </c:pt>
                <c:pt idx="492">
                  <c:v>41975</c:v>
                </c:pt>
                <c:pt idx="493">
                  <c:v>41976</c:v>
                </c:pt>
                <c:pt idx="494">
                  <c:v>41977</c:v>
                </c:pt>
                <c:pt idx="495">
                  <c:v>41978</c:v>
                </c:pt>
                <c:pt idx="496">
                  <c:v>41981</c:v>
                </c:pt>
                <c:pt idx="497">
                  <c:v>41982</c:v>
                </c:pt>
                <c:pt idx="498">
                  <c:v>41983</c:v>
                </c:pt>
                <c:pt idx="499">
                  <c:v>41984</c:v>
                </c:pt>
                <c:pt idx="500">
                  <c:v>41985</c:v>
                </c:pt>
                <c:pt idx="501">
                  <c:v>41988</c:v>
                </c:pt>
                <c:pt idx="502">
                  <c:v>41989</c:v>
                </c:pt>
                <c:pt idx="503">
                  <c:v>41990</c:v>
                </c:pt>
                <c:pt idx="504">
                  <c:v>41991</c:v>
                </c:pt>
                <c:pt idx="505">
                  <c:v>41992</c:v>
                </c:pt>
                <c:pt idx="506">
                  <c:v>41995</c:v>
                </c:pt>
                <c:pt idx="507">
                  <c:v>41996</c:v>
                </c:pt>
                <c:pt idx="508">
                  <c:v>41997</c:v>
                </c:pt>
                <c:pt idx="509">
                  <c:v>42002</c:v>
                </c:pt>
                <c:pt idx="510">
                  <c:v>42003</c:v>
                </c:pt>
                <c:pt idx="511">
                  <c:v>42004</c:v>
                </c:pt>
                <c:pt idx="512">
                  <c:v>42006</c:v>
                </c:pt>
                <c:pt idx="513">
                  <c:v>42009</c:v>
                </c:pt>
                <c:pt idx="514">
                  <c:v>42010</c:v>
                </c:pt>
                <c:pt idx="515">
                  <c:v>42011</c:v>
                </c:pt>
                <c:pt idx="516">
                  <c:v>42012</c:v>
                </c:pt>
                <c:pt idx="517">
                  <c:v>42013</c:v>
                </c:pt>
                <c:pt idx="518">
                  <c:v>42016</c:v>
                </c:pt>
                <c:pt idx="519">
                  <c:v>42017</c:v>
                </c:pt>
                <c:pt idx="520">
                  <c:v>42018</c:v>
                </c:pt>
                <c:pt idx="521">
                  <c:v>42019</c:v>
                </c:pt>
                <c:pt idx="522">
                  <c:v>42020</c:v>
                </c:pt>
                <c:pt idx="523">
                  <c:v>42023</c:v>
                </c:pt>
                <c:pt idx="524">
                  <c:v>42024</c:v>
                </c:pt>
                <c:pt idx="525">
                  <c:v>42025</c:v>
                </c:pt>
                <c:pt idx="526">
                  <c:v>42026</c:v>
                </c:pt>
                <c:pt idx="527">
                  <c:v>42027</c:v>
                </c:pt>
                <c:pt idx="528">
                  <c:v>42030</c:v>
                </c:pt>
                <c:pt idx="529">
                  <c:v>42031</c:v>
                </c:pt>
                <c:pt idx="530">
                  <c:v>42032</c:v>
                </c:pt>
                <c:pt idx="531">
                  <c:v>42033</c:v>
                </c:pt>
                <c:pt idx="532">
                  <c:v>42034</c:v>
                </c:pt>
                <c:pt idx="533">
                  <c:v>42037</c:v>
                </c:pt>
                <c:pt idx="534">
                  <c:v>42038</c:v>
                </c:pt>
                <c:pt idx="535">
                  <c:v>42039</c:v>
                </c:pt>
                <c:pt idx="536">
                  <c:v>42040</c:v>
                </c:pt>
                <c:pt idx="537">
                  <c:v>42041</c:v>
                </c:pt>
                <c:pt idx="538">
                  <c:v>42044</c:v>
                </c:pt>
                <c:pt idx="539">
                  <c:v>42045</c:v>
                </c:pt>
                <c:pt idx="540">
                  <c:v>42046</c:v>
                </c:pt>
                <c:pt idx="541">
                  <c:v>42047</c:v>
                </c:pt>
                <c:pt idx="542">
                  <c:v>42048</c:v>
                </c:pt>
                <c:pt idx="543">
                  <c:v>42051</c:v>
                </c:pt>
                <c:pt idx="544">
                  <c:v>42052</c:v>
                </c:pt>
                <c:pt idx="545">
                  <c:v>42053</c:v>
                </c:pt>
                <c:pt idx="546">
                  <c:v>42054</c:v>
                </c:pt>
                <c:pt idx="547">
                  <c:v>42055</c:v>
                </c:pt>
                <c:pt idx="548">
                  <c:v>42058</c:v>
                </c:pt>
                <c:pt idx="549">
                  <c:v>42059</c:v>
                </c:pt>
              </c:numCache>
            </c:numRef>
          </c:cat>
          <c:val>
            <c:numRef>
              <c:f>Sheet1!$B$2:$B$551</c:f>
              <c:numCache>
                <c:formatCode>0.00%</c:formatCode>
                <c:ptCount val="550"/>
                <c:pt idx="0">
                  <c:v>1.9999999434361371E-9</c:v>
                </c:pt>
                <c:pt idx="1">
                  <c:v>1.4384700708136577E-5</c:v>
                </c:pt>
                <c:pt idx="2">
                  <c:v>1.626865325810023E-5</c:v>
                </c:pt>
                <c:pt idx="3">
                  <c:v>-9.3568159073020851E-6</c:v>
                </c:pt>
                <c:pt idx="4">
                  <c:v>1.5003205322550173E-7</c:v>
                </c:pt>
                <c:pt idx="5">
                  <c:v>-1.0611215993661105E-5</c:v>
                </c:pt>
                <c:pt idx="6">
                  <c:v>-4.7115372429740177E-5</c:v>
                </c:pt>
                <c:pt idx="7">
                  <c:v>-1.6114726823124315E-4</c:v>
                </c:pt>
                <c:pt idx="8">
                  <c:v>-2.7762562100086541E-4</c:v>
                </c:pt>
                <c:pt idx="9">
                  <c:v>-4.7371669482665357E-4</c:v>
                </c:pt>
                <c:pt idx="10">
                  <c:v>5.1393446730996217E-5</c:v>
                </c:pt>
                <c:pt idx="11">
                  <c:v>-3.720509293634322E-4</c:v>
                </c:pt>
                <c:pt idx="12">
                  <c:v>1.3859735136401152E-4</c:v>
                </c:pt>
                <c:pt idx="13">
                  <c:v>1.1761751636996109E-4</c:v>
                </c:pt>
                <c:pt idx="14">
                  <c:v>3.0995580688442104E-4</c:v>
                </c:pt>
                <c:pt idx="15">
                  <c:v>7.491525116209985E-5</c:v>
                </c:pt>
                <c:pt idx="16">
                  <c:v>-4.42953977046745E-4</c:v>
                </c:pt>
                <c:pt idx="17">
                  <c:v>1.44844147011991E-5</c:v>
                </c:pt>
                <c:pt idx="18">
                  <c:v>-2.4545995365499174E-4</c:v>
                </c:pt>
                <c:pt idx="19">
                  <c:v>3.3496044963099436E-4</c:v>
                </c:pt>
                <c:pt idx="20">
                  <c:v>2.8796580433754215E-4</c:v>
                </c:pt>
                <c:pt idx="21">
                  <c:v>1.0046733305002498E-4</c:v>
                </c:pt>
                <c:pt idx="22">
                  <c:v>7.0445183020240165E-10</c:v>
                </c:pt>
                <c:pt idx="23">
                  <c:v>1.2150340560901363E-5</c:v>
                </c:pt>
                <c:pt idx="24">
                  <c:v>-4.0073281745600653E-5</c:v>
                </c:pt>
                <c:pt idx="25">
                  <c:v>4.4017578248789491E-5</c:v>
                </c:pt>
                <c:pt idx="26">
                  <c:v>-1.1351752861377129E-4</c:v>
                </c:pt>
                <c:pt idx="27">
                  <c:v>-4.670854063504315E-5</c:v>
                </c:pt>
                <c:pt idx="28">
                  <c:v>7.9651471176722666E-5</c:v>
                </c:pt>
                <c:pt idx="29">
                  <c:v>7.8483876080559511E-5</c:v>
                </c:pt>
                <c:pt idx="30">
                  <c:v>4.0332813718402249E-5</c:v>
                </c:pt>
                <c:pt idx="31">
                  <c:v>-7.1275634516143604E-5</c:v>
                </c:pt>
                <c:pt idx="32">
                  <c:v>7.5376620818468076E-5</c:v>
                </c:pt>
                <c:pt idx="33">
                  <c:v>-1.5479829200248929E-5</c:v>
                </c:pt>
                <c:pt idx="34">
                  <c:v>4.0747951320918574E-5</c:v>
                </c:pt>
                <c:pt idx="35">
                  <c:v>1.1110608212350215E-5</c:v>
                </c:pt>
                <c:pt idx="36">
                  <c:v>-1.1725863586864449E-4</c:v>
                </c:pt>
                <c:pt idx="37">
                  <c:v>-1.1658240363221495E-4</c:v>
                </c:pt>
                <c:pt idx="38">
                  <c:v>8.8559124704845615E-5</c:v>
                </c:pt>
                <c:pt idx="39">
                  <c:v>-2.2729216997063872E-4</c:v>
                </c:pt>
                <c:pt idx="40">
                  <c:v>7.5313945433697072E-5</c:v>
                </c:pt>
                <c:pt idx="41">
                  <c:v>3.8952888204990543E-5</c:v>
                </c:pt>
                <c:pt idx="42">
                  <c:v>1.8925913058964738E-9</c:v>
                </c:pt>
                <c:pt idx="43">
                  <c:v>-7.4694171048328428E-7</c:v>
                </c:pt>
                <c:pt idx="44">
                  <c:v>1.8857417507511798E-6</c:v>
                </c:pt>
                <c:pt idx="45">
                  <c:v>-6.474788341104265E-5</c:v>
                </c:pt>
                <c:pt idx="46">
                  <c:v>-1.1037169746708209E-4</c:v>
                </c:pt>
                <c:pt idx="47">
                  <c:v>-3.2595421475045683E-5</c:v>
                </c:pt>
                <c:pt idx="48">
                  <c:v>3.9777770901361365E-5</c:v>
                </c:pt>
                <c:pt idx="49">
                  <c:v>9.5535761356568827E-5</c:v>
                </c:pt>
                <c:pt idx="50">
                  <c:v>2.2177510860088567E-5</c:v>
                </c:pt>
                <c:pt idx="51">
                  <c:v>-4.4510617260851149E-6</c:v>
                </c:pt>
                <c:pt idx="52">
                  <c:v>2.5576747737121597E-4</c:v>
                </c:pt>
                <c:pt idx="53">
                  <c:v>6.2578783781241931E-5</c:v>
                </c:pt>
                <c:pt idx="54">
                  <c:v>1.4202888374459377E-4</c:v>
                </c:pt>
                <c:pt idx="55">
                  <c:v>-4.3145696646762488E-5</c:v>
                </c:pt>
                <c:pt idx="56">
                  <c:v>7.7852483798546146E-6</c:v>
                </c:pt>
                <c:pt idx="57">
                  <c:v>3.7548286916377904E-6</c:v>
                </c:pt>
                <c:pt idx="58">
                  <c:v>3.2617012321822791E-5</c:v>
                </c:pt>
                <c:pt idx="59">
                  <c:v>5.3149236090010987E-6</c:v>
                </c:pt>
                <c:pt idx="60">
                  <c:v>7.4636338882605457E-6</c:v>
                </c:pt>
                <c:pt idx="61">
                  <c:v>-1.9607005534494348E-5</c:v>
                </c:pt>
                <c:pt idx="62">
                  <c:v>1.9936718942403786E-10</c:v>
                </c:pt>
                <c:pt idx="63">
                  <c:v>5.6747650703403707E-5</c:v>
                </c:pt>
                <c:pt idx="64">
                  <c:v>-5.7672716700096771E-6</c:v>
                </c:pt>
                <c:pt idx="65">
                  <c:v>-1.2105525026839814E-8</c:v>
                </c:pt>
                <c:pt idx="66">
                  <c:v>2.3473806662455132E-5</c:v>
                </c:pt>
                <c:pt idx="67">
                  <c:v>2.529543442952864E-5</c:v>
                </c:pt>
                <c:pt idx="68">
                  <c:v>-6.5897990508823057E-6</c:v>
                </c:pt>
                <c:pt idx="69">
                  <c:v>-1.4254677889624645E-5</c:v>
                </c:pt>
                <c:pt idx="70">
                  <c:v>5.8709205495888206E-5</c:v>
                </c:pt>
                <c:pt idx="71">
                  <c:v>2.3254413025197707E-6</c:v>
                </c:pt>
                <c:pt idx="72">
                  <c:v>4.4629289286390872E-7</c:v>
                </c:pt>
                <c:pt idx="73">
                  <c:v>-1.1820442920029706E-6</c:v>
                </c:pt>
                <c:pt idx="74">
                  <c:v>3.9216016430199119E-5</c:v>
                </c:pt>
                <c:pt idx="75">
                  <c:v>1.9461316860036604E-5</c:v>
                </c:pt>
                <c:pt idx="76">
                  <c:v>2.8131813183618348E-5</c:v>
                </c:pt>
                <c:pt idx="77">
                  <c:v>3.5515113476103366E-5</c:v>
                </c:pt>
                <c:pt idx="78">
                  <c:v>-1.3269908478830139E-4</c:v>
                </c:pt>
                <c:pt idx="79">
                  <c:v>-2.3098609374772039E-5</c:v>
                </c:pt>
                <c:pt idx="80">
                  <c:v>2.1305847570629588E-4</c:v>
                </c:pt>
                <c:pt idx="81">
                  <c:v>-1.9218404614385065E-5</c:v>
                </c:pt>
                <c:pt idx="82">
                  <c:v>1.0690608462871065E-4</c:v>
                </c:pt>
                <c:pt idx="83">
                  <c:v>2.7960578297125949E-10</c:v>
                </c:pt>
                <c:pt idx="84">
                  <c:v>-1.5956619108248304E-6</c:v>
                </c:pt>
                <c:pt idx="85">
                  <c:v>-3.2792523814162422E-6</c:v>
                </c:pt>
                <c:pt idx="86">
                  <c:v>-1.392831188984367E-5</c:v>
                </c:pt>
                <c:pt idx="87">
                  <c:v>-7.8698980466640478E-5</c:v>
                </c:pt>
                <c:pt idx="88">
                  <c:v>-2.1118336433589846E-5</c:v>
                </c:pt>
                <c:pt idx="89">
                  <c:v>1.6226776883621064E-5</c:v>
                </c:pt>
                <c:pt idx="90">
                  <c:v>-2.9136394928297449E-4</c:v>
                </c:pt>
                <c:pt idx="91">
                  <c:v>-4.1274298495652673E-5</c:v>
                </c:pt>
                <c:pt idx="92">
                  <c:v>1.4991020033550129E-5</c:v>
                </c:pt>
                <c:pt idx="93">
                  <c:v>-9.1947866037056514E-5</c:v>
                </c:pt>
                <c:pt idx="94">
                  <c:v>2.6810354017792193E-4</c:v>
                </c:pt>
                <c:pt idx="95">
                  <c:v>-3.7721168118842741E-4</c:v>
                </c:pt>
                <c:pt idx="96">
                  <c:v>1.6703742742452121E-4</c:v>
                </c:pt>
                <c:pt idx="97">
                  <c:v>-2.9970491153508139E-4</c:v>
                </c:pt>
                <c:pt idx="98">
                  <c:v>-6.781485674338672E-4</c:v>
                </c:pt>
                <c:pt idx="99">
                  <c:v>7.1012941142523101E-4</c:v>
                </c:pt>
                <c:pt idx="100">
                  <c:v>4.043514074522081E-4</c:v>
                </c:pt>
                <c:pt idx="101">
                  <c:v>-1.06528059887534E-4</c:v>
                </c:pt>
                <c:pt idx="102">
                  <c:v>-4.6300994424330888E-4</c:v>
                </c:pt>
                <c:pt idx="103">
                  <c:v>5.5721752536608271E-4</c:v>
                </c:pt>
                <c:pt idx="104">
                  <c:v>5.4689178788036585E-5</c:v>
                </c:pt>
                <c:pt idx="105">
                  <c:v>6.6306596333998158E-5</c:v>
                </c:pt>
                <c:pt idx="106">
                  <c:v>4.9908499555328945E-10</c:v>
                </c:pt>
                <c:pt idx="107">
                  <c:v>-1.6002446460827713E-5</c:v>
                </c:pt>
                <c:pt idx="108">
                  <c:v>-3.5484447753253434E-5</c:v>
                </c:pt>
                <c:pt idx="109">
                  <c:v>-2.792626510284002E-5</c:v>
                </c:pt>
                <c:pt idx="110">
                  <c:v>9.3607985997889998E-5</c:v>
                </c:pt>
                <c:pt idx="111">
                  <c:v>5.1910632786200672E-5</c:v>
                </c:pt>
                <c:pt idx="112">
                  <c:v>-1.4071412641281089E-4</c:v>
                </c:pt>
                <c:pt idx="113">
                  <c:v>-1.1394097901062938E-4</c:v>
                </c:pt>
                <c:pt idx="114">
                  <c:v>4.2116964590888095E-5</c:v>
                </c:pt>
                <c:pt idx="115">
                  <c:v>-2.0582164115268142E-6</c:v>
                </c:pt>
                <c:pt idx="116">
                  <c:v>2.4794403423933353E-4</c:v>
                </c:pt>
                <c:pt idx="117">
                  <c:v>-4.7839463285792583E-5</c:v>
                </c:pt>
                <c:pt idx="118">
                  <c:v>-8.7965033365167145E-6</c:v>
                </c:pt>
                <c:pt idx="119">
                  <c:v>-1.6674632026891789E-4</c:v>
                </c:pt>
                <c:pt idx="120">
                  <c:v>5.2587025352046624E-5</c:v>
                </c:pt>
                <c:pt idx="121">
                  <c:v>-3.2378378914243999E-4</c:v>
                </c:pt>
                <c:pt idx="122">
                  <c:v>4.5102590501833184E-4</c:v>
                </c:pt>
                <c:pt idx="123">
                  <c:v>-2.5724923550507484E-4</c:v>
                </c:pt>
                <c:pt idx="124">
                  <c:v>4.9667220157223468E-4</c:v>
                </c:pt>
                <c:pt idx="125">
                  <c:v>-1.7912361568994672E-4</c:v>
                </c:pt>
                <c:pt idx="126">
                  <c:v>2.7540747460363946E-10</c:v>
                </c:pt>
                <c:pt idx="127">
                  <c:v>-6.5585571563664402E-6</c:v>
                </c:pt>
                <c:pt idx="128">
                  <c:v>1.5702304170139847E-5</c:v>
                </c:pt>
                <c:pt idx="129">
                  <c:v>3.4839590074220439E-5</c:v>
                </c:pt>
                <c:pt idx="130">
                  <c:v>1.4864413861004344E-5</c:v>
                </c:pt>
                <c:pt idx="131">
                  <c:v>-9.0435546638012454E-6</c:v>
                </c:pt>
                <c:pt idx="132">
                  <c:v>-9.1388199827457939E-5</c:v>
                </c:pt>
                <c:pt idx="133">
                  <c:v>2.5289527035288195E-5</c:v>
                </c:pt>
                <c:pt idx="134">
                  <c:v>1.0671799569683671E-4</c:v>
                </c:pt>
                <c:pt idx="135">
                  <c:v>8.272631386674334E-5</c:v>
                </c:pt>
                <c:pt idx="136">
                  <c:v>-7.9124821732001749E-5</c:v>
                </c:pt>
                <c:pt idx="137">
                  <c:v>9.9622892267725582E-5</c:v>
                </c:pt>
                <c:pt idx="138">
                  <c:v>3.0963885421675386E-5</c:v>
                </c:pt>
                <c:pt idx="139">
                  <c:v>-8.6429923436881495E-5</c:v>
                </c:pt>
                <c:pt idx="140">
                  <c:v>1.1759954164891617E-4</c:v>
                </c:pt>
                <c:pt idx="141">
                  <c:v>7.9167797346624269E-5</c:v>
                </c:pt>
                <c:pt idx="142">
                  <c:v>-1.5701509749743714E-4</c:v>
                </c:pt>
                <c:pt idx="143">
                  <c:v>-6.3704014887644433E-6</c:v>
                </c:pt>
                <c:pt idx="144">
                  <c:v>1.0312986847083039E-4</c:v>
                </c:pt>
                <c:pt idx="145">
                  <c:v>1.4101568711910595E-4</c:v>
                </c:pt>
                <c:pt idx="146">
                  <c:v>-6.4582640897259402E-5</c:v>
                </c:pt>
                <c:pt idx="147">
                  <c:v>4.1281864966880022E-5</c:v>
                </c:pt>
                <c:pt idx="148">
                  <c:v>-2.9812858452826774E-5</c:v>
                </c:pt>
                <c:pt idx="149">
                  <c:v>8.4717832748992805E-10</c:v>
                </c:pt>
                <c:pt idx="150">
                  <c:v>3.8154628475561836E-5</c:v>
                </c:pt>
                <c:pt idx="151">
                  <c:v>-7.4421029970794805E-6</c:v>
                </c:pt>
                <c:pt idx="152">
                  <c:v>2.8510545865279013E-5</c:v>
                </c:pt>
                <c:pt idx="153">
                  <c:v>8.0387264291825744E-6</c:v>
                </c:pt>
                <c:pt idx="154">
                  <c:v>-6.6738768844665231E-6</c:v>
                </c:pt>
                <c:pt idx="155">
                  <c:v>1.0611769509782931E-6</c:v>
                </c:pt>
                <c:pt idx="156">
                  <c:v>-3.0812677369151942E-5</c:v>
                </c:pt>
                <c:pt idx="157">
                  <c:v>-6.4121346474266261E-5</c:v>
                </c:pt>
                <c:pt idx="158">
                  <c:v>-6.2846446292619262E-5</c:v>
                </c:pt>
                <c:pt idx="159">
                  <c:v>1.7743602400033254E-5</c:v>
                </c:pt>
                <c:pt idx="160">
                  <c:v>9.5295879500856273E-5</c:v>
                </c:pt>
                <c:pt idx="161">
                  <c:v>-1.4040095830836208E-5</c:v>
                </c:pt>
                <c:pt idx="162">
                  <c:v>4.4216092228488435E-5</c:v>
                </c:pt>
                <c:pt idx="163">
                  <c:v>4.810247209108276E-6</c:v>
                </c:pt>
                <c:pt idx="164">
                  <c:v>-2.0557079227767616E-6</c:v>
                </c:pt>
                <c:pt idx="165">
                  <c:v>2.3794791238929136E-5</c:v>
                </c:pt>
                <c:pt idx="166">
                  <c:v>-3.6254460129114818E-5</c:v>
                </c:pt>
                <c:pt idx="167">
                  <c:v>8.2395652752254023E-5</c:v>
                </c:pt>
                <c:pt idx="168">
                  <c:v>-2.9036463832232684E-6</c:v>
                </c:pt>
                <c:pt idx="169">
                  <c:v>2.9717984622479321E-5</c:v>
                </c:pt>
                <c:pt idx="170">
                  <c:v>-7.5159277083125531E-6</c:v>
                </c:pt>
                <c:pt idx="171">
                  <c:v>1.0050966725572152E-9</c:v>
                </c:pt>
                <c:pt idx="172">
                  <c:v>-3.2090882648216912E-5</c:v>
                </c:pt>
                <c:pt idx="173">
                  <c:v>-1.8642791002498882E-5</c:v>
                </c:pt>
                <c:pt idx="174">
                  <c:v>-5.7665788268268514E-5</c:v>
                </c:pt>
                <c:pt idx="175">
                  <c:v>9.7099552190504923E-5</c:v>
                </c:pt>
                <c:pt idx="176">
                  <c:v>-4.8862587127551649E-6</c:v>
                </c:pt>
                <c:pt idx="177">
                  <c:v>-1.2613682762374623E-4</c:v>
                </c:pt>
                <c:pt idx="178">
                  <c:v>7.5597799573889901E-5</c:v>
                </c:pt>
                <c:pt idx="179">
                  <c:v>1.2895948145663638E-4</c:v>
                </c:pt>
                <c:pt idx="180">
                  <c:v>-8.2979151005080354E-5</c:v>
                </c:pt>
                <c:pt idx="181">
                  <c:v>8.0437177031766893E-5</c:v>
                </c:pt>
                <c:pt idx="182">
                  <c:v>-1.4135325415676192E-4</c:v>
                </c:pt>
                <c:pt idx="183">
                  <c:v>1.6617382201444819E-4</c:v>
                </c:pt>
                <c:pt idx="184">
                  <c:v>1.3673544418657535E-4</c:v>
                </c:pt>
                <c:pt idx="185">
                  <c:v>8.1591195134622652E-5</c:v>
                </c:pt>
                <c:pt idx="186">
                  <c:v>1.3515734976277116E-4</c:v>
                </c:pt>
                <c:pt idx="187">
                  <c:v>-2.815887200968703E-6</c:v>
                </c:pt>
                <c:pt idx="188">
                  <c:v>-6.765057338320446E-5</c:v>
                </c:pt>
                <c:pt idx="189">
                  <c:v>1.3070091915234894E-4</c:v>
                </c:pt>
                <c:pt idx="190">
                  <c:v>1.8977977953360536E-4</c:v>
                </c:pt>
                <c:pt idx="191">
                  <c:v>4.707411201843037E-5</c:v>
                </c:pt>
                <c:pt idx="192">
                  <c:v>4.4579362423746716E-10</c:v>
                </c:pt>
                <c:pt idx="193">
                  <c:v>7.5049827410467174E-6</c:v>
                </c:pt>
                <c:pt idx="194">
                  <c:v>-7.7208637787595791E-6</c:v>
                </c:pt>
                <c:pt idx="195">
                  <c:v>-7.2365619254721736E-6</c:v>
                </c:pt>
                <c:pt idx="196">
                  <c:v>2.621872077002152E-6</c:v>
                </c:pt>
                <c:pt idx="197">
                  <c:v>-2.3866132227157166E-6</c:v>
                </c:pt>
                <c:pt idx="198">
                  <c:v>-1.1000752833778549E-5</c:v>
                </c:pt>
                <c:pt idx="199">
                  <c:v>-1.2880725356323453E-5</c:v>
                </c:pt>
                <c:pt idx="200">
                  <c:v>-5.9870035867604088E-5</c:v>
                </c:pt>
                <c:pt idx="201">
                  <c:v>4.1866815147617586E-5</c:v>
                </c:pt>
                <c:pt idx="202">
                  <c:v>-7.8628520521872858E-5</c:v>
                </c:pt>
                <c:pt idx="203">
                  <c:v>-1.7184868423836264E-5</c:v>
                </c:pt>
                <c:pt idx="204">
                  <c:v>8.4554441206252662E-5</c:v>
                </c:pt>
                <c:pt idx="205">
                  <c:v>-4.64634094583527E-5</c:v>
                </c:pt>
                <c:pt idx="206">
                  <c:v>8.1582279029546179E-5</c:v>
                </c:pt>
                <c:pt idx="207">
                  <c:v>2.0997651206666745E-6</c:v>
                </c:pt>
                <c:pt idx="208">
                  <c:v>1.912131516990101E-4</c:v>
                </c:pt>
                <c:pt idx="209">
                  <c:v>-7.1850965427611158E-5</c:v>
                </c:pt>
                <c:pt idx="210">
                  <c:v>-1.1004590926699809E-4</c:v>
                </c:pt>
                <c:pt idx="211">
                  <c:v>-4.7369944893072002E-5</c:v>
                </c:pt>
                <c:pt idx="212">
                  <c:v>-9.9789588196008694E-5</c:v>
                </c:pt>
                <c:pt idx="213">
                  <c:v>1.1606020392807004E-4</c:v>
                </c:pt>
                <c:pt idx="214">
                  <c:v>1.6125817674228493E-4</c:v>
                </c:pt>
                <c:pt idx="215">
                  <c:v>-3.3407687727304847E-10</c:v>
                </c:pt>
                <c:pt idx="216">
                  <c:v>5.2540625783414896E-7</c:v>
                </c:pt>
                <c:pt idx="217">
                  <c:v>-3.3840178405020183E-6</c:v>
                </c:pt>
                <c:pt idx="218">
                  <c:v>3.3791234457014596E-5</c:v>
                </c:pt>
                <c:pt idx="219">
                  <c:v>-3.7019951932837358E-6</c:v>
                </c:pt>
                <c:pt idx="220">
                  <c:v>1.230099403115581E-5</c:v>
                </c:pt>
                <c:pt idx="221">
                  <c:v>1.1439743032637395E-5</c:v>
                </c:pt>
                <c:pt idx="222">
                  <c:v>-2.077523194810027E-6</c:v>
                </c:pt>
                <c:pt idx="223">
                  <c:v>3.8310666725660525E-6</c:v>
                </c:pt>
                <c:pt idx="224">
                  <c:v>5.1901071209670135E-6</c:v>
                </c:pt>
                <c:pt idx="225">
                  <c:v>2.2162323121133198E-6</c:v>
                </c:pt>
                <c:pt idx="226">
                  <c:v>-5.3876576933120646E-7</c:v>
                </c:pt>
                <c:pt idx="227">
                  <c:v>-3.102021903789165E-7</c:v>
                </c:pt>
                <c:pt idx="228">
                  <c:v>-3.5630587045254458E-6</c:v>
                </c:pt>
                <c:pt idx="229">
                  <c:v>3.0550545215835001E-6</c:v>
                </c:pt>
                <c:pt idx="230">
                  <c:v>-8.7842265075188664E-6</c:v>
                </c:pt>
                <c:pt idx="231">
                  <c:v>3.3193817501331324E-6</c:v>
                </c:pt>
                <c:pt idx="232">
                  <c:v>9.1798038992507713E-7</c:v>
                </c:pt>
                <c:pt idx="233">
                  <c:v>-1.0386839401910208E-6</c:v>
                </c:pt>
                <c:pt idx="234">
                  <c:v>1.9332666905125251E-6</c:v>
                </c:pt>
                <c:pt idx="235">
                  <c:v>1.9161172181370034E-5</c:v>
                </c:pt>
                <c:pt idx="236">
                  <c:v>-3.6588221341560256E-10</c:v>
                </c:pt>
                <c:pt idx="237">
                  <c:v>-1.4850076838213155E-6</c:v>
                </c:pt>
                <c:pt idx="238">
                  <c:v>-3.4863381835448237E-5</c:v>
                </c:pt>
                <c:pt idx="239">
                  <c:v>-3.3319296893874473E-5</c:v>
                </c:pt>
                <c:pt idx="240">
                  <c:v>-9.4524504209880789E-5</c:v>
                </c:pt>
                <c:pt idx="241">
                  <c:v>-2.1269956741898355E-5</c:v>
                </c:pt>
                <c:pt idx="242">
                  <c:v>-4.4735351636071563E-5</c:v>
                </c:pt>
                <c:pt idx="243">
                  <c:v>-2.0444077681536221E-5</c:v>
                </c:pt>
                <c:pt idx="244">
                  <c:v>8.112442792940211E-5</c:v>
                </c:pt>
                <c:pt idx="245">
                  <c:v>-1.5259002152046008E-5</c:v>
                </c:pt>
                <c:pt idx="246">
                  <c:v>-1.0462425908763784E-4</c:v>
                </c:pt>
                <c:pt idx="247">
                  <c:v>-4.2185713164832883E-5</c:v>
                </c:pt>
                <c:pt idx="248">
                  <c:v>5.2179700991361599E-5</c:v>
                </c:pt>
                <c:pt idx="249">
                  <c:v>1.8667068495070716E-4</c:v>
                </c:pt>
                <c:pt idx="250">
                  <c:v>-1.9407053355235959E-5</c:v>
                </c:pt>
                <c:pt idx="251">
                  <c:v>-3.0389491261217927E-6</c:v>
                </c:pt>
                <c:pt idx="252">
                  <c:v>8.2549693911637689E-6</c:v>
                </c:pt>
                <c:pt idx="253">
                  <c:v>-9.1110493054546993E-6</c:v>
                </c:pt>
                <c:pt idx="254">
                  <c:v>-3.5148013185493099E-6</c:v>
                </c:pt>
                <c:pt idx="255">
                  <c:v>-5.8373088984708943E-7</c:v>
                </c:pt>
                <c:pt idx="256">
                  <c:v>1.5627344973623281E-9</c:v>
                </c:pt>
                <c:pt idx="257">
                  <c:v>6.1092173204713163E-6</c:v>
                </c:pt>
                <c:pt idx="258">
                  <c:v>1.0964673925362156E-5</c:v>
                </c:pt>
                <c:pt idx="259">
                  <c:v>2.464296947080058E-5</c:v>
                </c:pt>
                <c:pt idx="260">
                  <c:v>7.2718677200933612E-6</c:v>
                </c:pt>
                <c:pt idx="261">
                  <c:v>9.078712161936231E-6</c:v>
                </c:pt>
                <c:pt idx="262">
                  <c:v>1.7133351344345016E-6</c:v>
                </c:pt>
                <c:pt idx="263">
                  <c:v>5.6651268023344414E-6</c:v>
                </c:pt>
                <c:pt idx="264">
                  <c:v>-3.1842584129471163E-6</c:v>
                </c:pt>
                <c:pt idx="265">
                  <c:v>-2.9000703634762814E-5</c:v>
                </c:pt>
                <c:pt idx="266">
                  <c:v>8.4394549019761733E-5</c:v>
                </c:pt>
                <c:pt idx="267">
                  <c:v>-7.1594765138627281E-7</c:v>
                </c:pt>
                <c:pt idx="268">
                  <c:v>-1.1141988198848374E-5</c:v>
                </c:pt>
                <c:pt idx="269">
                  <c:v>-1.4125747268001199E-5</c:v>
                </c:pt>
                <c:pt idx="270">
                  <c:v>-3.7478362903131668E-6</c:v>
                </c:pt>
                <c:pt idx="271">
                  <c:v>6.1580585399956256E-5</c:v>
                </c:pt>
                <c:pt idx="272">
                  <c:v>5.307350882166606E-5</c:v>
                </c:pt>
                <c:pt idx="273">
                  <c:v>4.2301975603731279E-5</c:v>
                </c:pt>
                <c:pt idx="274">
                  <c:v>5.2443622860609551E-5</c:v>
                </c:pt>
                <c:pt idx="275">
                  <c:v>-8.9012199689597615E-5</c:v>
                </c:pt>
                <c:pt idx="276">
                  <c:v>4.9256967525890261E-5</c:v>
                </c:pt>
                <c:pt idx="277">
                  <c:v>-5.9265039049405388E-5</c:v>
                </c:pt>
                <c:pt idx="278">
                  <c:v>-2.8947688690550422E-10</c:v>
                </c:pt>
                <c:pt idx="279">
                  <c:v>2.3927841037774122E-5</c:v>
                </c:pt>
                <c:pt idx="280">
                  <c:v>6.2099388835612501E-6</c:v>
                </c:pt>
                <c:pt idx="281">
                  <c:v>8.3958662919769722E-6</c:v>
                </c:pt>
                <c:pt idx="282">
                  <c:v>-4.3114998948823313E-7</c:v>
                </c:pt>
                <c:pt idx="283">
                  <c:v>-3.5387860646274305E-6</c:v>
                </c:pt>
                <c:pt idx="284">
                  <c:v>3.3618576367189235E-7</c:v>
                </c:pt>
                <c:pt idx="285">
                  <c:v>-1.8392827268121081E-5</c:v>
                </c:pt>
                <c:pt idx="286">
                  <c:v>5.2739629212705808E-5</c:v>
                </c:pt>
                <c:pt idx="287">
                  <c:v>-8.0377666211717269E-7</c:v>
                </c:pt>
                <c:pt idx="288">
                  <c:v>1.3653298377214185E-5</c:v>
                </c:pt>
                <c:pt idx="289">
                  <c:v>1.9740288642600134E-6</c:v>
                </c:pt>
                <c:pt idx="290">
                  <c:v>1.6266402991238493E-5</c:v>
                </c:pt>
                <c:pt idx="291">
                  <c:v>1.3318092639824641E-5</c:v>
                </c:pt>
                <c:pt idx="292">
                  <c:v>-6.5771422195215479E-6</c:v>
                </c:pt>
                <c:pt idx="293">
                  <c:v>-1.6651141281132098E-5</c:v>
                </c:pt>
                <c:pt idx="294">
                  <c:v>5.5859012764059024E-5</c:v>
                </c:pt>
                <c:pt idx="295">
                  <c:v>2.6036237180449007E-5</c:v>
                </c:pt>
                <c:pt idx="296">
                  <c:v>7.4057010100103682E-5</c:v>
                </c:pt>
                <c:pt idx="297">
                  <c:v>7.6675454414587563E-6</c:v>
                </c:pt>
                <c:pt idx="298">
                  <c:v>-3.7903225003077523E-10</c:v>
                </c:pt>
                <c:pt idx="299">
                  <c:v>1.4838465237820841E-4</c:v>
                </c:pt>
                <c:pt idx="300">
                  <c:v>8.5015633510820976E-7</c:v>
                </c:pt>
                <c:pt idx="301">
                  <c:v>3.7457990764711013E-6</c:v>
                </c:pt>
                <c:pt idx="302">
                  <c:v>4.8427547733043141E-6</c:v>
                </c:pt>
                <c:pt idx="303">
                  <c:v>1.5605939797103119E-6</c:v>
                </c:pt>
                <c:pt idx="304">
                  <c:v>-9.2448003532474843E-6</c:v>
                </c:pt>
                <c:pt idx="305">
                  <c:v>-2.4906583491635104E-5</c:v>
                </c:pt>
                <c:pt idx="306">
                  <c:v>-1.4724826609580077E-5</c:v>
                </c:pt>
                <c:pt idx="307">
                  <c:v>-8.3013359433170564E-5</c:v>
                </c:pt>
                <c:pt idx="308">
                  <c:v>9.5593111721248292E-5</c:v>
                </c:pt>
                <c:pt idx="309">
                  <c:v>3.1009935354209262E-5</c:v>
                </c:pt>
                <c:pt idx="310">
                  <c:v>7.9127863679140376E-6</c:v>
                </c:pt>
                <c:pt idx="311">
                  <c:v>1.4180803407537468E-5</c:v>
                </c:pt>
                <c:pt idx="312">
                  <c:v>5.6309387466146887E-6</c:v>
                </c:pt>
                <c:pt idx="313">
                  <c:v>1.2703114515066893E-5</c:v>
                </c:pt>
                <c:pt idx="314">
                  <c:v>4.8608402071881329E-5</c:v>
                </c:pt>
                <c:pt idx="315">
                  <c:v>-5.7657405172495402E-6</c:v>
                </c:pt>
                <c:pt idx="316">
                  <c:v>-3.6107593612833E-6</c:v>
                </c:pt>
                <c:pt idx="317">
                  <c:v>1.6292782301086106E-7</c:v>
                </c:pt>
                <c:pt idx="318">
                  <c:v>2.0946340106298145E-5</c:v>
                </c:pt>
                <c:pt idx="319">
                  <c:v>2.5170976414301549E-10</c:v>
                </c:pt>
                <c:pt idx="320">
                  <c:v>-9.4211942101019019E-6</c:v>
                </c:pt>
                <c:pt idx="321">
                  <c:v>-2.5645172917254655E-5</c:v>
                </c:pt>
                <c:pt idx="322">
                  <c:v>-7.1980527667214744E-6</c:v>
                </c:pt>
                <c:pt idx="323">
                  <c:v>6.4758842458156884E-5</c:v>
                </c:pt>
                <c:pt idx="324">
                  <c:v>4.0936610465891476E-6</c:v>
                </c:pt>
                <c:pt idx="325">
                  <c:v>1.359076039619822E-5</c:v>
                </c:pt>
                <c:pt idx="326">
                  <c:v>-7.8268705139272754E-7</c:v>
                </c:pt>
                <c:pt idx="327">
                  <c:v>-1.1583829574446369E-6</c:v>
                </c:pt>
                <c:pt idx="328">
                  <c:v>-2.187115666263395E-5</c:v>
                </c:pt>
                <c:pt idx="329">
                  <c:v>9.0213118058013464E-6</c:v>
                </c:pt>
                <c:pt idx="330">
                  <c:v>2.9587591333646301E-5</c:v>
                </c:pt>
                <c:pt idx="331">
                  <c:v>6.0763715026279641E-6</c:v>
                </c:pt>
                <c:pt idx="332">
                  <c:v>-5.2517583770672616E-6</c:v>
                </c:pt>
                <c:pt idx="333">
                  <c:v>3.0566062313219788E-5</c:v>
                </c:pt>
                <c:pt idx="334">
                  <c:v>1.9010378622397184E-6</c:v>
                </c:pt>
                <c:pt idx="335">
                  <c:v>4.8353327317673944E-6</c:v>
                </c:pt>
                <c:pt idx="336">
                  <c:v>-5.5034174950563397E-7</c:v>
                </c:pt>
                <c:pt idx="337">
                  <c:v>-1.0027511304633308E-5</c:v>
                </c:pt>
                <c:pt idx="338">
                  <c:v>9.1883517505664258E-7</c:v>
                </c:pt>
                <c:pt idx="339">
                  <c:v>-1.7541212926630578E-10</c:v>
                </c:pt>
                <c:pt idx="340">
                  <c:v>-1.6879559494586971E-7</c:v>
                </c:pt>
                <c:pt idx="341">
                  <c:v>-4.2094061867281596E-6</c:v>
                </c:pt>
                <c:pt idx="342">
                  <c:v>-6.8218433380007326E-6</c:v>
                </c:pt>
                <c:pt idx="343">
                  <c:v>2.3639106504491636E-5</c:v>
                </c:pt>
                <c:pt idx="344">
                  <c:v>-1.0494003848782185E-5</c:v>
                </c:pt>
                <c:pt idx="345">
                  <c:v>-8.2366769410535667E-6</c:v>
                </c:pt>
                <c:pt idx="346">
                  <c:v>-1.9790565011224004E-6</c:v>
                </c:pt>
                <c:pt idx="347">
                  <c:v>1.5702642607751116E-5</c:v>
                </c:pt>
                <c:pt idx="348">
                  <c:v>-5.1468253758901739E-6</c:v>
                </c:pt>
                <c:pt idx="349">
                  <c:v>-4.3907090945261018E-6</c:v>
                </c:pt>
                <c:pt idx="350">
                  <c:v>1.1015219560928102E-6</c:v>
                </c:pt>
                <c:pt idx="351">
                  <c:v>-5.6714625698006671E-6</c:v>
                </c:pt>
                <c:pt idx="352">
                  <c:v>7.8560408357519762E-6</c:v>
                </c:pt>
                <c:pt idx="353">
                  <c:v>-2.4226480836997411E-6</c:v>
                </c:pt>
                <c:pt idx="354">
                  <c:v>1.0181089572069979E-5</c:v>
                </c:pt>
                <c:pt idx="355">
                  <c:v>2.2865326010368392E-6</c:v>
                </c:pt>
                <c:pt idx="356">
                  <c:v>4.7863231069644741E-6</c:v>
                </c:pt>
                <c:pt idx="357">
                  <c:v>-3.5036097992158233E-5</c:v>
                </c:pt>
                <c:pt idx="358">
                  <c:v>2.4255774120796048E-5</c:v>
                </c:pt>
                <c:pt idx="359">
                  <c:v>1.8914986507190257E-5</c:v>
                </c:pt>
                <c:pt idx="360">
                  <c:v>1.3963930070581831E-5</c:v>
                </c:pt>
                <c:pt idx="361">
                  <c:v>5.356202148476541E-10</c:v>
                </c:pt>
                <c:pt idx="362">
                  <c:v>-9.3704229597868505E-7</c:v>
                </c:pt>
                <c:pt idx="363">
                  <c:v>1.7531405192006133E-6</c:v>
                </c:pt>
                <c:pt idx="364">
                  <c:v>-7.164176702989522E-7</c:v>
                </c:pt>
                <c:pt idx="365">
                  <c:v>-1.4629179663216973E-6</c:v>
                </c:pt>
                <c:pt idx="366">
                  <c:v>-1.195338894199871E-5</c:v>
                </c:pt>
                <c:pt idx="367">
                  <c:v>2.3722615221988264E-5</c:v>
                </c:pt>
                <c:pt idx="368">
                  <c:v>1.9609640000028961E-5</c:v>
                </c:pt>
                <c:pt idx="369">
                  <c:v>-5.1172777354446808E-6</c:v>
                </c:pt>
                <c:pt idx="370">
                  <c:v>-3.0078562405222442E-6</c:v>
                </c:pt>
                <c:pt idx="371">
                  <c:v>1.2351012960154506E-6</c:v>
                </c:pt>
                <c:pt idx="372">
                  <c:v>-4.3721195437385063E-6</c:v>
                </c:pt>
                <c:pt idx="373">
                  <c:v>6.5996478635366174E-6</c:v>
                </c:pt>
                <c:pt idx="374">
                  <c:v>2.0838939346567997E-5</c:v>
                </c:pt>
                <c:pt idx="375">
                  <c:v>-2.6275585425672432E-5</c:v>
                </c:pt>
                <c:pt idx="376">
                  <c:v>9.8765228138120165E-6</c:v>
                </c:pt>
                <c:pt idx="377">
                  <c:v>-6.9270313003411133E-6</c:v>
                </c:pt>
                <c:pt idx="378">
                  <c:v>1.0677242713530433E-5</c:v>
                </c:pt>
                <c:pt idx="379">
                  <c:v>1.0996158554821278E-6</c:v>
                </c:pt>
                <c:pt idx="380">
                  <c:v>-1.8421047409677982E-6</c:v>
                </c:pt>
                <c:pt idx="381">
                  <c:v>-5.0981572632391448E-6</c:v>
                </c:pt>
                <c:pt idx="382">
                  <c:v>1.6407275538199428E-10</c:v>
                </c:pt>
                <c:pt idx="383">
                  <c:v>-2.2785297106864277E-6</c:v>
                </c:pt>
                <c:pt idx="384">
                  <c:v>-1.0155523375132702E-5</c:v>
                </c:pt>
                <c:pt idx="385">
                  <c:v>-1.7512211705206226E-6</c:v>
                </c:pt>
                <c:pt idx="386">
                  <c:v>3.5973448320181234E-6</c:v>
                </c:pt>
                <c:pt idx="387">
                  <c:v>4.9333527896155971E-7</c:v>
                </c:pt>
                <c:pt idx="388">
                  <c:v>5.06005426537115E-6</c:v>
                </c:pt>
                <c:pt idx="389">
                  <c:v>-7.1104062070448393E-6</c:v>
                </c:pt>
                <c:pt idx="390">
                  <c:v>-2.0841451844333392E-6</c:v>
                </c:pt>
                <c:pt idx="391">
                  <c:v>1.4644982090805669E-5</c:v>
                </c:pt>
                <c:pt idx="392">
                  <c:v>1.6948559726781554E-6</c:v>
                </c:pt>
                <c:pt idx="393">
                  <c:v>8.516166931871183E-6</c:v>
                </c:pt>
                <c:pt idx="394">
                  <c:v>-3.1130909027288212E-6</c:v>
                </c:pt>
                <c:pt idx="395">
                  <c:v>5.2478443266501529E-6</c:v>
                </c:pt>
                <c:pt idx="396">
                  <c:v>-7.173250534675546E-6</c:v>
                </c:pt>
                <c:pt idx="397">
                  <c:v>1.1022968191554128E-5</c:v>
                </c:pt>
                <c:pt idx="398">
                  <c:v>-7.2326459910065921E-7</c:v>
                </c:pt>
                <c:pt idx="399">
                  <c:v>3.029669465970386E-6</c:v>
                </c:pt>
                <c:pt idx="400">
                  <c:v>2.5350154664316449E-7</c:v>
                </c:pt>
                <c:pt idx="401">
                  <c:v>-4.0242912374699458E-6</c:v>
                </c:pt>
                <c:pt idx="402">
                  <c:v>1.7963195189096837E-5</c:v>
                </c:pt>
                <c:pt idx="403">
                  <c:v>7.355320029489576E-6</c:v>
                </c:pt>
                <c:pt idx="404">
                  <c:v>-5.674940220301572E-6</c:v>
                </c:pt>
                <c:pt idx="405">
                  <c:v>-6.5143068717077313E-10</c:v>
                </c:pt>
                <c:pt idx="406">
                  <c:v>8.4717017468927125E-6</c:v>
                </c:pt>
                <c:pt idx="407">
                  <c:v>5.5393587115037946E-6</c:v>
                </c:pt>
                <c:pt idx="408">
                  <c:v>-2.2631750557833286E-5</c:v>
                </c:pt>
                <c:pt idx="409">
                  <c:v>-1.1071242075222365E-5</c:v>
                </c:pt>
                <c:pt idx="410">
                  <c:v>-1.8919732784006271E-5</c:v>
                </c:pt>
                <c:pt idx="411">
                  <c:v>-8.5741822397622514E-6</c:v>
                </c:pt>
                <c:pt idx="412">
                  <c:v>4.4688398093128967E-6</c:v>
                </c:pt>
                <c:pt idx="413">
                  <c:v>-3.0986528101184518E-6</c:v>
                </c:pt>
                <c:pt idx="414">
                  <c:v>-3.9532953230780876E-5</c:v>
                </c:pt>
                <c:pt idx="415">
                  <c:v>-2.3018521876916331E-5</c:v>
                </c:pt>
                <c:pt idx="416">
                  <c:v>2.7591664178983066E-5</c:v>
                </c:pt>
                <c:pt idx="417">
                  <c:v>-4.8667507861477333E-6</c:v>
                </c:pt>
                <c:pt idx="418">
                  <c:v>2.4925551482812836E-6</c:v>
                </c:pt>
                <c:pt idx="419">
                  <c:v>2.3516386582489446E-6</c:v>
                </c:pt>
                <c:pt idx="420">
                  <c:v>-1.3368744240516151E-6</c:v>
                </c:pt>
                <c:pt idx="421">
                  <c:v>-2.4470082957250838E-5</c:v>
                </c:pt>
                <c:pt idx="422">
                  <c:v>-7.9455306039033502E-6</c:v>
                </c:pt>
                <c:pt idx="423">
                  <c:v>2.5697051105000313E-5</c:v>
                </c:pt>
                <c:pt idx="424">
                  <c:v>1.9659756497425462E-5</c:v>
                </c:pt>
                <c:pt idx="425">
                  <c:v>-4.2214029496445704E-6</c:v>
                </c:pt>
                <c:pt idx="426">
                  <c:v>1.27151400519665E-10</c:v>
                </c:pt>
                <c:pt idx="427">
                  <c:v>6.1299611608944815E-7</c:v>
                </c:pt>
                <c:pt idx="428">
                  <c:v>-1.2075533339928057E-6</c:v>
                </c:pt>
                <c:pt idx="429">
                  <c:v>1.2054400714278657E-5</c:v>
                </c:pt>
                <c:pt idx="430">
                  <c:v>1.0988127923217128E-5</c:v>
                </c:pt>
                <c:pt idx="431">
                  <c:v>-7.5765564111485162E-6</c:v>
                </c:pt>
                <c:pt idx="432">
                  <c:v>-1.0279649514499667E-5</c:v>
                </c:pt>
                <c:pt idx="433">
                  <c:v>-8.2422613319255156E-5</c:v>
                </c:pt>
                <c:pt idx="434">
                  <c:v>2.8249031573390759E-5</c:v>
                </c:pt>
                <c:pt idx="435">
                  <c:v>-3.1020544510873549E-6</c:v>
                </c:pt>
                <c:pt idx="436">
                  <c:v>-1.0702368483772595E-5</c:v>
                </c:pt>
                <c:pt idx="437">
                  <c:v>2.3281855836554399E-5</c:v>
                </c:pt>
                <c:pt idx="438">
                  <c:v>-3.0253673380498114E-5</c:v>
                </c:pt>
                <c:pt idx="439">
                  <c:v>8.8638032541998868E-5</c:v>
                </c:pt>
                <c:pt idx="440">
                  <c:v>-5.7930278392070989E-6</c:v>
                </c:pt>
                <c:pt idx="441">
                  <c:v>-8.8818569019544213E-6</c:v>
                </c:pt>
                <c:pt idx="442">
                  <c:v>1.009143709418403E-5</c:v>
                </c:pt>
                <c:pt idx="443">
                  <c:v>-7.6920967300164733E-6</c:v>
                </c:pt>
                <c:pt idx="444">
                  <c:v>1.5930518295736995E-5</c:v>
                </c:pt>
                <c:pt idx="445">
                  <c:v>-1.3843864712370646E-6</c:v>
                </c:pt>
                <c:pt idx="446">
                  <c:v>1.1629545006108799E-5</c:v>
                </c:pt>
                <c:pt idx="447">
                  <c:v>-4.4459645625050115E-6</c:v>
                </c:pt>
                <c:pt idx="448">
                  <c:v>3.9411507390951783E-10</c:v>
                </c:pt>
                <c:pt idx="449">
                  <c:v>9.450002893984788E-6</c:v>
                </c:pt>
                <c:pt idx="450">
                  <c:v>5.7801621669462122E-5</c:v>
                </c:pt>
                <c:pt idx="451">
                  <c:v>6.508299196394951E-5</c:v>
                </c:pt>
                <c:pt idx="452">
                  <c:v>8.2269540885304693E-6</c:v>
                </c:pt>
                <c:pt idx="453">
                  <c:v>1.6400157618612354E-6</c:v>
                </c:pt>
                <c:pt idx="454">
                  <c:v>-1.2434524034177219E-4</c:v>
                </c:pt>
                <c:pt idx="455">
                  <c:v>-9.8098612288932685E-6</c:v>
                </c:pt>
                <c:pt idx="456">
                  <c:v>-1.2280531088193491E-4</c:v>
                </c:pt>
                <c:pt idx="457">
                  <c:v>-1.7650987201411894E-5</c:v>
                </c:pt>
                <c:pt idx="458">
                  <c:v>-1.8770243050858504E-5</c:v>
                </c:pt>
                <c:pt idx="459">
                  <c:v>-4.3716552676320575E-5</c:v>
                </c:pt>
                <c:pt idx="460">
                  <c:v>7.5392131428042575E-5</c:v>
                </c:pt>
                <c:pt idx="461">
                  <c:v>-8.3849883482201015E-5</c:v>
                </c:pt>
                <c:pt idx="462">
                  <c:v>1.1238565865268058E-5</c:v>
                </c:pt>
                <c:pt idx="463">
                  <c:v>-3.8422658725778547E-6</c:v>
                </c:pt>
                <c:pt idx="464">
                  <c:v>2.0598500344082282E-5</c:v>
                </c:pt>
                <c:pt idx="465">
                  <c:v>-2.209627131100067E-5</c:v>
                </c:pt>
                <c:pt idx="466">
                  <c:v>-3.4050591846357392E-5</c:v>
                </c:pt>
                <c:pt idx="467">
                  <c:v>4.2116785496038034E-5</c:v>
                </c:pt>
                <c:pt idx="468">
                  <c:v>-1.13456606369855E-5</c:v>
                </c:pt>
                <c:pt idx="469">
                  <c:v>-1.9566113809821317E-5</c:v>
                </c:pt>
                <c:pt idx="470">
                  <c:v>1.5365139106160441E-5</c:v>
                </c:pt>
                <c:pt idx="471">
                  <c:v>-1.64923630308067E-12</c:v>
                </c:pt>
                <c:pt idx="472">
                  <c:v>-6.5359170814405232E-6</c:v>
                </c:pt>
                <c:pt idx="473">
                  <c:v>-2.4174022623224545E-5</c:v>
                </c:pt>
                <c:pt idx="474">
                  <c:v>2.9854972465326313E-6</c:v>
                </c:pt>
                <c:pt idx="475">
                  <c:v>-4.0930743739897579E-6</c:v>
                </c:pt>
                <c:pt idx="476">
                  <c:v>-1.1868221293287462E-5</c:v>
                </c:pt>
                <c:pt idx="477">
                  <c:v>3.8042256778059169E-6</c:v>
                </c:pt>
                <c:pt idx="478">
                  <c:v>-4.5923448207529916E-6</c:v>
                </c:pt>
                <c:pt idx="479">
                  <c:v>4.4060677750756838E-7</c:v>
                </c:pt>
                <c:pt idx="480">
                  <c:v>-1.0984603612707033E-5</c:v>
                </c:pt>
                <c:pt idx="481">
                  <c:v>-5.5958056410787549E-8</c:v>
                </c:pt>
                <c:pt idx="482">
                  <c:v>-9.6787882797322311E-7</c:v>
                </c:pt>
                <c:pt idx="483">
                  <c:v>7.3988340076880377E-7</c:v>
                </c:pt>
                <c:pt idx="484">
                  <c:v>9.4055898169909113E-7</c:v>
                </c:pt>
                <c:pt idx="485">
                  <c:v>5.2448094782775456E-6</c:v>
                </c:pt>
                <c:pt idx="486">
                  <c:v>-1.1471542479046803E-5</c:v>
                </c:pt>
                <c:pt idx="487">
                  <c:v>-1.017499854305548E-5</c:v>
                </c:pt>
                <c:pt idx="488">
                  <c:v>2.2665435580271343E-5</c:v>
                </c:pt>
                <c:pt idx="489">
                  <c:v>1.1869387303242718E-5</c:v>
                </c:pt>
                <c:pt idx="490">
                  <c:v>2.4038241111412617E-5</c:v>
                </c:pt>
                <c:pt idx="491">
                  <c:v>-5.5434323797953766E-10</c:v>
                </c:pt>
                <c:pt idx="492">
                  <c:v>6.063018453739133E-6</c:v>
                </c:pt>
                <c:pt idx="493">
                  <c:v>-6.6638944273833545E-7</c:v>
                </c:pt>
                <c:pt idx="494">
                  <c:v>9.7381524122308605E-7</c:v>
                </c:pt>
                <c:pt idx="495">
                  <c:v>-2.0977166070856867E-6</c:v>
                </c:pt>
                <c:pt idx="496">
                  <c:v>1.5347216553163179E-7</c:v>
                </c:pt>
                <c:pt idx="497">
                  <c:v>3.0857233856984578E-7</c:v>
                </c:pt>
                <c:pt idx="498">
                  <c:v>2.3660700104066734E-5</c:v>
                </c:pt>
                <c:pt idx="499">
                  <c:v>-4.0743363773909635E-5</c:v>
                </c:pt>
                <c:pt idx="500">
                  <c:v>-6.3311940889931861E-6</c:v>
                </c:pt>
                <c:pt idx="501">
                  <c:v>3.9263782415366322E-6</c:v>
                </c:pt>
                <c:pt idx="502">
                  <c:v>-6.4458196460392969E-6</c:v>
                </c:pt>
                <c:pt idx="503">
                  <c:v>-3.4225987655123191E-6</c:v>
                </c:pt>
                <c:pt idx="504">
                  <c:v>1.7391173191794174E-4</c:v>
                </c:pt>
                <c:pt idx="505">
                  <c:v>-2.1554434378567855E-5</c:v>
                </c:pt>
                <c:pt idx="506">
                  <c:v>-1.0081645266390993E-5</c:v>
                </c:pt>
                <c:pt idx="507">
                  <c:v>-1.2375045589152478E-5</c:v>
                </c:pt>
                <c:pt idx="508">
                  <c:v>2.0322652728443913E-6</c:v>
                </c:pt>
                <c:pt idx="509">
                  <c:v>9.4105227459451157E-6</c:v>
                </c:pt>
                <c:pt idx="510">
                  <c:v>-4.9472682670526069E-6</c:v>
                </c:pt>
                <c:pt idx="511">
                  <c:v>-4.513984707799068E-6</c:v>
                </c:pt>
                <c:pt idx="512">
                  <c:v>3.2683167283664716E-10</c:v>
                </c:pt>
                <c:pt idx="513">
                  <c:v>-1.1804564022943609E-6</c:v>
                </c:pt>
                <c:pt idx="514">
                  <c:v>-9.3990705274382691E-6</c:v>
                </c:pt>
                <c:pt idx="515">
                  <c:v>-7.2281237315507951E-6</c:v>
                </c:pt>
                <c:pt idx="516">
                  <c:v>6.6564388887524473E-6</c:v>
                </c:pt>
                <c:pt idx="517">
                  <c:v>-1.3378836852817599E-6</c:v>
                </c:pt>
                <c:pt idx="518">
                  <c:v>2.9238561853883738E-6</c:v>
                </c:pt>
                <c:pt idx="519">
                  <c:v>1.0157634666718707E-7</c:v>
                </c:pt>
                <c:pt idx="520">
                  <c:v>-1.1073933270377978E-7</c:v>
                </c:pt>
                <c:pt idx="521">
                  <c:v>-2.2828663219691681E-3</c:v>
                </c:pt>
                <c:pt idx="522">
                  <c:v>-7.1932733404072025E-3</c:v>
                </c:pt>
                <c:pt idx="523">
                  <c:v>5.1433473749928904E-3</c:v>
                </c:pt>
                <c:pt idx="524">
                  <c:v>-2.2901314230816538E-4</c:v>
                </c:pt>
                <c:pt idx="525">
                  <c:v>-1.7788431248215719E-3</c:v>
                </c:pt>
                <c:pt idx="526">
                  <c:v>-4.2188963928313505E-4</c:v>
                </c:pt>
                <c:pt idx="527">
                  <c:v>-5.7762558165475042E-4</c:v>
                </c:pt>
                <c:pt idx="528">
                  <c:v>2.312371347569675E-3</c:v>
                </c:pt>
                <c:pt idx="529">
                  <c:v>1.1941885167198185E-3</c:v>
                </c:pt>
                <c:pt idx="530">
                  <c:v>-1.7942741534271445E-4</c:v>
                </c:pt>
                <c:pt idx="531">
                  <c:v>1.0502673798624684E-3</c:v>
                </c:pt>
                <c:pt idx="532">
                  <c:v>-1.9329757739217079E-4</c:v>
                </c:pt>
                <c:pt idx="533">
                  <c:v>-4.6892290050948304E-10</c:v>
                </c:pt>
                <c:pt idx="534">
                  <c:v>-1.4121746496753573E-4</c:v>
                </c:pt>
                <c:pt idx="535">
                  <c:v>2.4697240828652767E-5</c:v>
                </c:pt>
                <c:pt idx="536">
                  <c:v>-7.9895178840549974E-6</c:v>
                </c:pt>
                <c:pt idx="537">
                  <c:v>2.6799250109876827E-4</c:v>
                </c:pt>
                <c:pt idx="538">
                  <c:v>1.8797790966584849E-5</c:v>
                </c:pt>
                <c:pt idx="539">
                  <c:v>-1.5554308938625638E-6</c:v>
                </c:pt>
                <c:pt idx="540">
                  <c:v>2.1089536509810713E-5</c:v>
                </c:pt>
                <c:pt idx="541">
                  <c:v>-1.3352346537054416E-4</c:v>
                </c:pt>
                <c:pt idx="542">
                  <c:v>-1.8996203022636493E-4</c:v>
                </c:pt>
                <c:pt idx="543">
                  <c:v>5.1592473989892085E-5</c:v>
                </c:pt>
                <c:pt idx="544">
                  <c:v>-2.2165408033258949E-4</c:v>
                </c:pt>
                <c:pt idx="545">
                  <c:v>-3.4041776727944395E-4</c:v>
                </c:pt>
                <c:pt idx="546">
                  <c:v>-4.5777504144695058E-4</c:v>
                </c:pt>
                <c:pt idx="547">
                  <c:v>4.4033538831556029E-4</c:v>
                </c:pt>
                <c:pt idx="548">
                  <c:v>-1.819916682781475E-4</c:v>
                </c:pt>
                <c:pt idx="549">
                  <c:v>-6.5847951031594576E-5</c:v>
                </c:pt>
              </c:numCache>
            </c:numRef>
          </c:val>
        </c:ser>
        <c:dLbls>
          <c:showLegendKey val="0"/>
          <c:showVal val="0"/>
          <c:showCatName val="0"/>
          <c:showSerName val="0"/>
          <c:showPercent val="0"/>
          <c:showBubbleSize val="0"/>
        </c:dLbls>
        <c:gapWidth val="0"/>
        <c:axId val="52183808"/>
        <c:axId val="52185344"/>
      </c:barChart>
      <c:dateAx>
        <c:axId val="52183808"/>
        <c:scaling>
          <c:orientation val="minMax"/>
        </c:scaling>
        <c:delete val="0"/>
        <c:axPos val="b"/>
        <c:numFmt formatCode="[$-409]mmm\-yy;@" sourceLinked="0"/>
        <c:majorTickMark val="in"/>
        <c:minorTickMark val="in"/>
        <c:tickLblPos val="low"/>
        <c:spPr>
          <a:ln w="3164">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52185344"/>
        <c:crosses val="autoZero"/>
        <c:auto val="1"/>
        <c:lblOffset val="100"/>
        <c:baseTimeUnit val="days"/>
      </c:dateAx>
      <c:valAx>
        <c:axId val="52185344"/>
        <c:scaling>
          <c:orientation val="minMax"/>
        </c:scaling>
        <c:delete val="0"/>
        <c:axPos val="l"/>
        <c:majorGridlines>
          <c:spPr>
            <a:ln w="12657">
              <a:solidFill>
                <a:schemeClr val="tx2"/>
              </a:solidFill>
              <a:prstDash val="solid"/>
            </a:ln>
          </c:spPr>
        </c:majorGridlines>
        <c:numFmt formatCode="0.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52183808"/>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6.2706631714178881E-2"/>
          <c:w val="0.9366912534780123"/>
          <c:h val="0.84955706436720879"/>
        </c:manualLayout>
      </c:layout>
      <c:lineChart>
        <c:grouping val="standard"/>
        <c:varyColors val="0"/>
        <c:ser>
          <c:idx val="0"/>
          <c:order val="0"/>
          <c:tx>
            <c:strRef>
              <c:f>Sheet1!$B$1</c:f>
              <c:strCache>
                <c:ptCount val="1"/>
                <c:pt idx="0">
                  <c:v>Daily</c:v>
                </c:pt>
              </c:strCache>
            </c:strRef>
          </c:tx>
          <c:marker>
            <c:symbol val="none"/>
          </c:marker>
          <c:cat>
            <c:numRef>
              <c:f>Sheet1!$A$2:$A$551</c:f>
              <c:numCache>
                <c:formatCode>[$-409]d\-mmm\-yy;@</c:formatCode>
                <c:ptCount val="550"/>
                <c:pt idx="0">
                  <c:v>41276</c:v>
                </c:pt>
                <c:pt idx="1">
                  <c:v>41277</c:v>
                </c:pt>
                <c:pt idx="2">
                  <c:v>41278</c:v>
                </c:pt>
                <c:pt idx="3">
                  <c:v>41281</c:v>
                </c:pt>
                <c:pt idx="4">
                  <c:v>41282</c:v>
                </c:pt>
                <c:pt idx="5">
                  <c:v>41283</c:v>
                </c:pt>
                <c:pt idx="6">
                  <c:v>41284</c:v>
                </c:pt>
                <c:pt idx="7">
                  <c:v>41285</c:v>
                </c:pt>
                <c:pt idx="8">
                  <c:v>41288</c:v>
                </c:pt>
                <c:pt idx="9">
                  <c:v>41289</c:v>
                </c:pt>
                <c:pt idx="10">
                  <c:v>41290</c:v>
                </c:pt>
                <c:pt idx="11">
                  <c:v>41291</c:v>
                </c:pt>
                <c:pt idx="12">
                  <c:v>41292</c:v>
                </c:pt>
                <c:pt idx="13">
                  <c:v>41295</c:v>
                </c:pt>
                <c:pt idx="14">
                  <c:v>41296</c:v>
                </c:pt>
                <c:pt idx="15">
                  <c:v>41297</c:v>
                </c:pt>
                <c:pt idx="16">
                  <c:v>41298</c:v>
                </c:pt>
                <c:pt idx="17">
                  <c:v>41299</c:v>
                </c:pt>
                <c:pt idx="18">
                  <c:v>41302</c:v>
                </c:pt>
                <c:pt idx="19">
                  <c:v>41303</c:v>
                </c:pt>
                <c:pt idx="20">
                  <c:v>41304</c:v>
                </c:pt>
                <c:pt idx="21">
                  <c:v>41305</c:v>
                </c:pt>
                <c:pt idx="22">
                  <c:v>41306</c:v>
                </c:pt>
                <c:pt idx="23">
                  <c:v>41309</c:v>
                </c:pt>
                <c:pt idx="24">
                  <c:v>41310</c:v>
                </c:pt>
                <c:pt idx="25">
                  <c:v>41311</c:v>
                </c:pt>
                <c:pt idx="26">
                  <c:v>41312</c:v>
                </c:pt>
                <c:pt idx="27">
                  <c:v>41313</c:v>
                </c:pt>
                <c:pt idx="28">
                  <c:v>41316</c:v>
                </c:pt>
                <c:pt idx="29">
                  <c:v>41317</c:v>
                </c:pt>
                <c:pt idx="30">
                  <c:v>41318</c:v>
                </c:pt>
                <c:pt idx="31">
                  <c:v>41319</c:v>
                </c:pt>
                <c:pt idx="32">
                  <c:v>41320</c:v>
                </c:pt>
                <c:pt idx="33">
                  <c:v>41323</c:v>
                </c:pt>
                <c:pt idx="34">
                  <c:v>41324</c:v>
                </c:pt>
                <c:pt idx="35">
                  <c:v>41325</c:v>
                </c:pt>
                <c:pt idx="36">
                  <c:v>41326</c:v>
                </c:pt>
                <c:pt idx="37">
                  <c:v>41327</c:v>
                </c:pt>
                <c:pt idx="38">
                  <c:v>41330</c:v>
                </c:pt>
                <c:pt idx="39">
                  <c:v>41331</c:v>
                </c:pt>
                <c:pt idx="40">
                  <c:v>41332</c:v>
                </c:pt>
                <c:pt idx="41">
                  <c:v>41333</c:v>
                </c:pt>
                <c:pt idx="42">
                  <c:v>41334</c:v>
                </c:pt>
                <c:pt idx="43">
                  <c:v>41337</c:v>
                </c:pt>
                <c:pt idx="44">
                  <c:v>41338</c:v>
                </c:pt>
                <c:pt idx="45">
                  <c:v>41339</c:v>
                </c:pt>
                <c:pt idx="46">
                  <c:v>41340</c:v>
                </c:pt>
                <c:pt idx="47">
                  <c:v>41341</c:v>
                </c:pt>
                <c:pt idx="48">
                  <c:v>41344</c:v>
                </c:pt>
                <c:pt idx="49">
                  <c:v>41345</c:v>
                </c:pt>
                <c:pt idx="50">
                  <c:v>41346</c:v>
                </c:pt>
                <c:pt idx="51">
                  <c:v>41347</c:v>
                </c:pt>
                <c:pt idx="52">
                  <c:v>41348</c:v>
                </c:pt>
                <c:pt idx="53">
                  <c:v>41351</c:v>
                </c:pt>
                <c:pt idx="54">
                  <c:v>41352</c:v>
                </c:pt>
                <c:pt idx="55">
                  <c:v>41353</c:v>
                </c:pt>
                <c:pt idx="56">
                  <c:v>41354</c:v>
                </c:pt>
                <c:pt idx="57">
                  <c:v>41355</c:v>
                </c:pt>
                <c:pt idx="58">
                  <c:v>41358</c:v>
                </c:pt>
                <c:pt idx="59">
                  <c:v>41359</c:v>
                </c:pt>
                <c:pt idx="60">
                  <c:v>41360</c:v>
                </c:pt>
                <c:pt idx="61">
                  <c:v>41361</c:v>
                </c:pt>
                <c:pt idx="62">
                  <c:v>41366</c:v>
                </c:pt>
                <c:pt idx="63">
                  <c:v>41367</c:v>
                </c:pt>
                <c:pt idx="64">
                  <c:v>41368</c:v>
                </c:pt>
                <c:pt idx="65">
                  <c:v>41369</c:v>
                </c:pt>
                <c:pt idx="66">
                  <c:v>41372</c:v>
                </c:pt>
                <c:pt idx="67">
                  <c:v>41373</c:v>
                </c:pt>
                <c:pt idx="68">
                  <c:v>41374</c:v>
                </c:pt>
                <c:pt idx="69">
                  <c:v>41375</c:v>
                </c:pt>
                <c:pt idx="70">
                  <c:v>41376</c:v>
                </c:pt>
                <c:pt idx="71">
                  <c:v>41379</c:v>
                </c:pt>
                <c:pt idx="72">
                  <c:v>41380</c:v>
                </c:pt>
                <c:pt idx="73">
                  <c:v>41381</c:v>
                </c:pt>
                <c:pt idx="74">
                  <c:v>41382</c:v>
                </c:pt>
                <c:pt idx="75">
                  <c:v>41383</c:v>
                </c:pt>
                <c:pt idx="76">
                  <c:v>41386</c:v>
                </c:pt>
                <c:pt idx="77">
                  <c:v>41387</c:v>
                </c:pt>
                <c:pt idx="78">
                  <c:v>41388</c:v>
                </c:pt>
                <c:pt idx="79">
                  <c:v>41389</c:v>
                </c:pt>
                <c:pt idx="80">
                  <c:v>41390</c:v>
                </c:pt>
                <c:pt idx="81">
                  <c:v>41393</c:v>
                </c:pt>
                <c:pt idx="82">
                  <c:v>41394</c:v>
                </c:pt>
                <c:pt idx="83">
                  <c:v>41395</c:v>
                </c:pt>
                <c:pt idx="84">
                  <c:v>41396</c:v>
                </c:pt>
                <c:pt idx="85">
                  <c:v>41397</c:v>
                </c:pt>
                <c:pt idx="86">
                  <c:v>41400</c:v>
                </c:pt>
                <c:pt idx="87">
                  <c:v>41401</c:v>
                </c:pt>
                <c:pt idx="88">
                  <c:v>41402</c:v>
                </c:pt>
                <c:pt idx="89">
                  <c:v>41403</c:v>
                </c:pt>
                <c:pt idx="90">
                  <c:v>41404</c:v>
                </c:pt>
                <c:pt idx="91">
                  <c:v>41407</c:v>
                </c:pt>
                <c:pt idx="92">
                  <c:v>41408</c:v>
                </c:pt>
                <c:pt idx="93">
                  <c:v>41409</c:v>
                </c:pt>
                <c:pt idx="94">
                  <c:v>41410</c:v>
                </c:pt>
                <c:pt idx="95">
                  <c:v>41411</c:v>
                </c:pt>
                <c:pt idx="96">
                  <c:v>41414</c:v>
                </c:pt>
                <c:pt idx="97">
                  <c:v>41415</c:v>
                </c:pt>
                <c:pt idx="98">
                  <c:v>41416</c:v>
                </c:pt>
                <c:pt idx="99">
                  <c:v>41417</c:v>
                </c:pt>
                <c:pt idx="100">
                  <c:v>41418</c:v>
                </c:pt>
                <c:pt idx="101">
                  <c:v>41421</c:v>
                </c:pt>
                <c:pt idx="102">
                  <c:v>41422</c:v>
                </c:pt>
                <c:pt idx="103">
                  <c:v>41423</c:v>
                </c:pt>
                <c:pt idx="104">
                  <c:v>41424</c:v>
                </c:pt>
                <c:pt idx="105">
                  <c:v>41425</c:v>
                </c:pt>
                <c:pt idx="106">
                  <c:v>41428</c:v>
                </c:pt>
                <c:pt idx="107">
                  <c:v>41429</c:v>
                </c:pt>
                <c:pt idx="108">
                  <c:v>41430</c:v>
                </c:pt>
                <c:pt idx="109">
                  <c:v>41431</c:v>
                </c:pt>
                <c:pt idx="110">
                  <c:v>41432</c:v>
                </c:pt>
                <c:pt idx="111">
                  <c:v>41435</c:v>
                </c:pt>
                <c:pt idx="112">
                  <c:v>41436</c:v>
                </c:pt>
                <c:pt idx="113">
                  <c:v>41437</c:v>
                </c:pt>
                <c:pt idx="114">
                  <c:v>41438</c:v>
                </c:pt>
                <c:pt idx="115">
                  <c:v>41439</c:v>
                </c:pt>
                <c:pt idx="116">
                  <c:v>41442</c:v>
                </c:pt>
                <c:pt idx="117">
                  <c:v>41443</c:v>
                </c:pt>
                <c:pt idx="118">
                  <c:v>41444</c:v>
                </c:pt>
                <c:pt idx="119">
                  <c:v>41445</c:v>
                </c:pt>
                <c:pt idx="120">
                  <c:v>41446</c:v>
                </c:pt>
                <c:pt idx="121">
                  <c:v>41449</c:v>
                </c:pt>
                <c:pt idx="122">
                  <c:v>41450</c:v>
                </c:pt>
                <c:pt idx="123">
                  <c:v>41451</c:v>
                </c:pt>
                <c:pt idx="124">
                  <c:v>41452</c:v>
                </c:pt>
                <c:pt idx="125">
                  <c:v>41453</c:v>
                </c:pt>
                <c:pt idx="126">
                  <c:v>41456</c:v>
                </c:pt>
                <c:pt idx="127">
                  <c:v>41457</c:v>
                </c:pt>
                <c:pt idx="128">
                  <c:v>41458</c:v>
                </c:pt>
                <c:pt idx="129">
                  <c:v>41459</c:v>
                </c:pt>
                <c:pt idx="130">
                  <c:v>41460</c:v>
                </c:pt>
                <c:pt idx="131">
                  <c:v>41463</c:v>
                </c:pt>
                <c:pt idx="132">
                  <c:v>41464</c:v>
                </c:pt>
                <c:pt idx="133">
                  <c:v>41465</c:v>
                </c:pt>
                <c:pt idx="134">
                  <c:v>41466</c:v>
                </c:pt>
                <c:pt idx="135">
                  <c:v>41467</c:v>
                </c:pt>
                <c:pt idx="136">
                  <c:v>41470</c:v>
                </c:pt>
                <c:pt idx="137">
                  <c:v>41471</c:v>
                </c:pt>
                <c:pt idx="138">
                  <c:v>41472</c:v>
                </c:pt>
                <c:pt idx="139">
                  <c:v>41473</c:v>
                </c:pt>
                <c:pt idx="140">
                  <c:v>41474</c:v>
                </c:pt>
                <c:pt idx="141">
                  <c:v>41477</c:v>
                </c:pt>
                <c:pt idx="142">
                  <c:v>41478</c:v>
                </c:pt>
                <c:pt idx="143">
                  <c:v>41479</c:v>
                </c:pt>
                <c:pt idx="144">
                  <c:v>41480</c:v>
                </c:pt>
                <c:pt idx="145">
                  <c:v>41481</c:v>
                </c:pt>
                <c:pt idx="146">
                  <c:v>41484</c:v>
                </c:pt>
                <c:pt idx="147">
                  <c:v>41485</c:v>
                </c:pt>
                <c:pt idx="148">
                  <c:v>41486</c:v>
                </c:pt>
                <c:pt idx="149">
                  <c:v>41487</c:v>
                </c:pt>
                <c:pt idx="150">
                  <c:v>41488</c:v>
                </c:pt>
                <c:pt idx="151">
                  <c:v>41491</c:v>
                </c:pt>
                <c:pt idx="152">
                  <c:v>41492</c:v>
                </c:pt>
                <c:pt idx="153">
                  <c:v>41493</c:v>
                </c:pt>
                <c:pt idx="154">
                  <c:v>41494</c:v>
                </c:pt>
                <c:pt idx="155">
                  <c:v>41495</c:v>
                </c:pt>
                <c:pt idx="156">
                  <c:v>41498</c:v>
                </c:pt>
                <c:pt idx="157">
                  <c:v>41499</c:v>
                </c:pt>
                <c:pt idx="158">
                  <c:v>41500</c:v>
                </c:pt>
                <c:pt idx="159">
                  <c:v>41501</c:v>
                </c:pt>
                <c:pt idx="160">
                  <c:v>41502</c:v>
                </c:pt>
                <c:pt idx="161">
                  <c:v>41505</c:v>
                </c:pt>
                <c:pt idx="162">
                  <c:v>41506</c:v>
                </c:pt>
                <c:pt idx="163">
                  <c:v>41507</c:v>
                </c:pt>
                <c:pt idx="164">
                  <c:v>41508</c:v>
                </c:pt>
                <c:pt idx="165">
                  <c:v>41509</c:v>
                </c:pt>
                <c:pt idx="166">
                  <c:v>41512</c:v>
                </c:pt>
                <c:pt idx="167">
                  <c:v>41513</c:v>
                </c:pt>
                <c:pt idx="168">
                  <c:v>41514</c:v>
                </c:pt>
                <c:pt idx="169">
                  <c:v>41515</c:v>
                </c:pt>
                <c:pt idx="170">
                  <c:v>41516</c:v>
                </c:pt>
                <c:pt idx="171">
                  <c:v>41519</c:v>
                </c:pt>
                <c:pt idx="172">
                  <c:v>41520</c:v>
                </c:pt>
                <c:pt idx="173">
                  <c:v>41521</c:v>
                </c:pt>
                <c:pt idx="174">
                  <c:v>41522</c:v>
                </c:pt>
                <c:pt idx="175">
                  <c:v>41523</c:v>
                </c:pt>
                <c:pt idx="176">
                  <c:v>41526</c:v>
                </c:pt>
                <c:pt idx="177">
                  <c:v>41527</c:v>
                </c:pt>
                <c:pt idx="178">
                  <c:v>41528</c:v>
                </c:pt>
                <c:pt idx="179">
                  <c:v>41529</c:v>
                </c:pt>
                <c:pt idx="180">
                  <c:v>41530</c:v>
                </c:pt>
                <c:pt idx="181">
                  <c:v>41533</c:v>
                </c:pt>
                <c:pt idx="182">
                  <c:v>41534</c:v>
                </c:pt>
                <c:pt idx="183">
                  <c:v>41535</c:v>
                </c:pt>
                <c:pt idx="184">
                  <c:v>41536</c:v>
                </c:pt>
                <c:pt idx="185">
                  <c:v>41537</c:v>
                </c:pt>
                <c:pt idx="186">
                  <c:v>41540</c:v>
                </c:pt>
                <c:pt idx="187">
                  <c:v>41541</c:v>
                </c:pt>
                <c:pt idx="188">
                  <c:v>41542</c:v>
                </c:pt>
                <c:pt idx="189">
                  <c:v>41543</c:v>
                </c:pt>
                <c:pt idx="190">
                  <c:v>41544</c:v>
                </c:pt>
                <c:pt idx="191">
                  <c:v>41547</c:v>
                </c:pt>
                <c:pt idx="192">
                  <c:v>41548</c:v>
                </c:pt>
                <c:pt idx="193">
                  <c:v>41549</c:v>
                </c:pt>
                <c:pt idx="194">
                  <c:v>41550</c:v>
                </c:pt>
                <c:pt idx="195">
                  <c:v>41551</c:v>
                </c:pt>
                <c:pt idx="196">
                  <c:v>41554</c:v>
                </c:pt>
                <c:pt idx="197">
                  <c:v>41555</c:v>
                </c:pt>
                <c:pt idx="198">
                  <c:v>41556</c:v>
                </c:pt>
                <c:pt idx="199">
                  <c:v>41557</c:v>
                </c:pt>
                <c:pt idx="200">
                  <c:v>41558</c:v>
                </c:pt>
                <c:pt idx="201">
                  <c:v>41561</c:v>
                </c:pt>
                <c:pt idx="202">
                  <c:v>41562</c:v>
                </c:pt>
                <c:pt idx="203">
                  <c:v>41563</c:v>
                </c:pt>
                <c:pt idx="204">
                  <c:v>41564</c:v>
                </c:pt>
                <c:pt idx="205">
                  <c:v>41565</c:v>
                </c:pt>
                <c:pt idx="206">
                  <c:v>41568</c:v>
                </c:pt>
                <c:pt idx="207">
                  <c:v>41569</c:v>
                </c:pt>
                <c:pt idx="208">
                  <c:v>41570</c:v>
                </c:pt>
                <c:pt idx="209">
                  <c:v>41571</c:v>
                </c:pt>
                <c:pt idx="210">
                  <c:v>41572</c:v>
                </c:pt>
                <c:pt idx="211">
                  <c:v>41575</c:v>
                </c:pt>
                <c:pt idx="212">
                  <c:v>41576</c:v>
                </c:pt>
                <c:pt idx="213">
                  <c:v>41577</c:v>
                </c:pt>
                <c:pt idx="214">
                  <c:v>41578</c:v>
                </c:pt>
                <c:pt idx="215">
                  <c:v>41579</c:v>
                </c:pt>
                <c:pt idx="216">
                  <c:v>41582</c:v>
                </c:pt>
                <c:pt idx="217">
                  <c:v>41583</c:v>
                </c:pt>
                <c:pt idx="218">
                  <c:v>41584</c:v>
                </c:pt>
                <c:pt idx="219">
                  <c:v>41585</c:v>
                </c:pt>
                <c:pt idx="220">
                  <c:v>41586</c:v>
                </c:pt>
                <c:pt idx="221">
                  <c:v>41589</c:v>
                </c:pt>
                <c:pt idx="222">
                  <c:v>41590</c:v>
                </c:pt>
                <c:pt idx="223">
                  <c:v>41591</c:v>
                </c:pt>
                <c:pt idx="224">
                  <c:v>41592</c:v>
                </c:pt>
                <c:pt idx="225">
                  <c:v>41593</c:v>
                </c:pt>
                <c:pt idx="226">
                  <c:v>41596</c:v>
                </c:pt>
                <c:pt idx="227">
                  <c:v>41597</c:v>
                </c:pt>
                <c:pt idx="228">
                  <c:v>41598</c:v>
                </c:pt>
                <c:pt idx="229">
                  <c:v>41599</c:v>
                </c:pt>
                <c:pt idx="230">
                  <c:v>41600</c:v>
                </c:pt>
                <c:pt idx="231">
                  <c:v>41603</c:v>
                </c:pt>
                <c:pt idx="232">
                  <c:v>41604</c:v>
                </c:pt>
                <c:pt idx="233">
                  <c:v>41605</c:v>
                </c:pt>
                <c:pt idx="234">
                  <c:v>41606</c:v>
                </c:pt>
                <c:pt idx="235">
                  <c:v>41607</c:v>
                </c:pt>
                <c:pt idx="236">
                  <c:v>41610</c:v>
                </c:pt>
                <c:pt idx="237">
                  <c:v>41611</c:v>
                </c:pt>
                <c:pt idx="238">
                  <c:v>41612</c:v>
                </c:pt>
                <c:pt idx="239">
                  <c:v>41613</c:v>
                </c:pt>
                <c:pt idx="240">
                  <c:v>41614</c:v>
                </c:pt>
                <c:pt idx="241">
                  <c:v>41617</c:v>
                </c:pt>
                <c:pt idx="242">
                  <c:v>41618</c:v>
                </c:pt>
                <c:pt idx="243">
                  <c:v>41619</c:v>
                </c:pt>
                <c:pt idx="244">
                  <c:v>41620</c:v>
                </c:pt>
                <c:pt idx="245">
                  <c:v>41621</c:v>
                </c:pt>
                <c:pt idx="246">
                  <c:v>41624</c:v>
                </c:pt>
                <c:pt idx="247">
                  <c:v>41625</c:v>
                </c:pt>
                <c:pt idx="248">
                  <c:v>41626</c:v>
                </c:pt>
                <c:pt idx="249">
                  <c:v>41627</c:v>
                </c:pt>
                <c:pt idx="250">
                  <c:v>41628</c:v>
                </c:pt>
                <c:pt idx="251">
                  <c:v>41631</c:v>
                </c:pt>
                <c:pt idx="252">
                  <c:v>41632</c:v>
                </c:pt>
                <c:pt idx="253">
                  <c:v>41635</c:v>
                </c:pt>
                <c:pt idx="254">
                  <c:v>41638</c:v>
                </c:pt>
                <c:pt idx="255">
                  <c:v>41639</c:v>
                </c:pt>
                <c:pt idx="256">
                  <c:v>41641</c:v>
                </c:pt>
                <c:pt idx="257">
                  <c:v>41642</c:v>
                </c:pt>
                <c:pt idx="258">
                  <c:v>41645</c:v>
                </c:pt>
                <c:pt idx="259">
                  <c:v>41646</c:v>
                </c:pt>
                <c:pt idx="260">
                  <c:v>41647</c:v>
                </c:pt>
                <c:pt idx="261">
                  <c:v>41648</c:v>
                </c:pt>
                <c:pt idx="262">
                  <c:v>41649</c:v>
                </c:pt>
                <c:pt idx="263">
                  <c:v>41652</c:v>
                </c:pt>
                <c:pt idx="264">
                  <c:v>41653</c:v>
                </c:pt>
                <c:pt idx="265">
                  <c:v>41654</c:v>
                </c:pt>
                <c:pt idx="266">
                  <c:v>41655</c:v>
                </c:pt>
                <c:pt idx="267">
                  <c:v>41656</c:v>
                </c:pt>
                <c:pt idx="268">
                  <c:v>41659</c:v>
                </c:pt>
                <c:pt idx="269">
                  <c:v>41660</c:v>
                </c:pt>
                <c:pt idx="270">
                  <c:v>41661</c:v>
                </c:pt>
                <c:pt idx="271">
                  <c:v>41662</c:v>
                </c:pt>
                <c:pt idx="272">
                  <c:v>41663</c:v>
                </c:pt>
                <c:pt idx="273">
                  <c:v>41666</c:v>
                </c:pt>
                <c:pt idx="274">
                  <c:v>41667</c:v>
                </c:pt>
                <c:pt idx="275">
                  <c:v>41668</c:v>
                </c:pt>
                <c:pt idx="276">
                  <c:v>41669</c:v>
                </c:pt>
                <c:pt idx="277">
                  <c:v>41670</c:v>
                </c:pt>
                <c:pt idx="278">
                  <c:v>41673</c:v>
                </c:pt>
                <c:pt idx="279">
                  <c:v>41674</c:v>
                </c:pt>
                <c:pt idx="280">
                  <c:v>41675</c:v>
                </c:pt>
                <c:pt idx="281">
                  <c:v>41676</c:v>
                </c:pt>
                <c:pt idx="282">
                  <c:v>41677</c:v>
                </c:pt>
                <c:pt idx="283">
                  <c:v>41680</c:v>
                </c:pt>
                <c:pt idx="284">
                  <c:v>41681</c:v>
                </c:pt>
                <c:pt idx="285">
                  <c:v>41682</c:v>
                </c:pt>
                <c:pt idx="286">
                  <c:v>41683</c:v>
                </c:pt>
                <c:pt idx="287">
                  <c:v>41684</c:v>
                </c:pt>
                <c:pt idx="288">
                  <c:v>41687</c:v>
                </c:pt>
                <c:pt idx="289">
                  <c:v>41688</c:v>
                </c:pt>
                <c:pt idx="290">
                  <c:v>41689</c:v>
                </c:pt>
                <c:pt idx="291">
                  <c:v>41690</c:v>
                </c:pt>
                <c:pt idx="292">
                  <c:v>41691</c:v>
                </c:pt>
                <c:pt idx="293">
                  <c:v>41694</c:v>
                </c:pt>
                <c:pt idx="294">
                  <c:v>41695</c:v>
                </c:pt>
                <c:pt idx="295">
                  <c:v>41696</c:v>
                </c:pt>
                <c:pt idx="296">
                  <c:v>41697</c:v>
                </c:pt>
                <c:pt idx="297">
                  <c:v>41698</c:v>
                </c:pt>
                <c:pt idx="298">
                  <c:v>41701</c:v>
                </c:pt>
                <c:pt idx="299">
                  <c:v>41702</c:v>
                </c:pt>
                <c:pt idx="300">
                  <c:v>41703</c:v>
                </c:pt>
                <c:pt idx="301">
                  <c:v>41704</c:v>
                </c:pt>
                <c:pt idx="302">
                  <c:v>41705</c:v>
                </c:pt>
                <c:pt idx="303">
                  <c:v>41708</c:v>
                </c:pt>
                <c:pt idx="304">
                  <c:v>41709</c:v>
                </c:pt>
                <c:pt idx="305">
                  <c:v>41710</c:v>
                </c:pt>
                <c:pt idx="306">
                  <c:v>41711</c:v>
                </c:pt>
                <c:pt idx="307">
                  <c:v>41712</c:v>
                </c:pt>
                <c:pt idx="308">
                  <c:v>41715</c:v>
                </c:pt>
                <c:pt idx="309">
                  <c:v>41716</c:v>
                </c:pt>
                <c:pt idx="310">
                  <c:v>41717</c:v>
                </c:pt>
                <c:pt idx="311">
                  <c:v>41718</c:v>
                </c:pt>
                <c:pt idx="312">
                  <c:v>41719</c:v>
                </c:pt>
                <c:pt idx="313">
                  <c:v>41722</c:v>
                </c:pt>
                <c:pt idx="314">
                  <c:v>41723</c:v>
                </c:pt>
                <c:pt idx="315">
                  <c:v>41724</c:v>
                </c:pt>
                <c:pt idx="316">
                  <c:v>41725</c:v>
                </c:pt>
                <c:pt idx="317">
                  <c:v>41726</c:v>
                </c:pt>
                <c:pt idx="318">
                  <c:v>41729</c:v>
                </c:pt>
                <c:pt idx="319">
                  <c:v>41730</c:v>
                </c:pt>
                <c:pt idx="320">
                  <c:v>41731</c:v>
                </c:pt>
                <c:pt idx="321">
                  <c:v>41732</c:v>
                </c:pt>
                <c:pt idx="322">
                  <c:v>41733</c:v>
                </c:pt>
                <c:pt idx="323">
                  <c:v>41736</c:v>
                </c:pt>
                <c:pt idx="324">
                  <c:v>41737</c:v>
                </c:pt>
                <c:pt idx="325">
                  <c:v>41738</c:v>
                </c:pt>
                <c:pt idx="326">
                  <c:v>41739</c:v>
                </c:pt>
                <c:pt idx="327">
                  <c:v>41740</c:v>
                </c:pt>
                <c:pt idx="328">
                  <c:v>41743</c:v>
                </c:pt>
                <c:pt idx="329">
                  <c:v>41744</c:v>
                </c:pt>
                <c:pt idx="330">
                  <c:v>41745</c:v>
                </c:pt>
                <c:pt idx="331">
                  <c:v>41746</c:v>
                </c:pt>
                <c:pt idx="332">
                  <c:v>41751</c:v>
                </c:pt>
                <c:pt idx="333">
                  <c:v>41752</c:v>
                </c:pt>
                <c:pt idx="334">
                  <c:v>41753</c:v>
                </c:pt>
                <c:pt idx="335">
                  <c:v>41754</c:v>
                </c:pt>
                <c:pt idx="336">
                  <c:v>41757</c:v>
                </c:pt>
                <c:pt idx="337">
                  <c:v>41758</c:v>
                </c:pt>
                <c:pt idx="338">
                  <c:v>41759</c:v>
                </c:pt>
                <c:pt idx="339">
                  <c:v>41760</c:v>
                </c:pt>
                <c:pt idx="340">
                  <c:v>41761</c:v>
                </c:pt>
                <c:pt idx="341">
                  <c:v>41764</c:v>
                </c:pt>
                <c:pt idx="342">
                  <c:v>41765</c:v>
                </c:pt>
                <c:pt idx="343">
                  <c:v>41766</c:v>
                </c:pt>
                <c:pt idx="344">
                  <c:v>41767</c:v>
                </c:pt>
                <c:pt idx="345">
                  <c:v>41768</c:v>
                </c:pt>
                <c:pt idx="346">
                  <c:v>41771</c:v>
                </c:pt>
                <c:pt idx="347">
                  <c:v>41772</c:v>
                </c:pt>
                <c:pt idx="348">
                  <c:v>41773</c:v>
                </c:pt>
                <c:pt idx="349">
                  <c:v>41774</c:v>
                </c:pt>
                <c:pt idx="350">
                  <c:v>41775</c:v>
                </c:pt>
                <c:pt idx="351">
                  <c:v>41778</c:v>
                </c:pt>
                <c:pt idx="352">
                  <c:v>41779</c:v>
                </c:pt>
                <c:pt idx="353">
                  <c:v>41780</c:v>
                </c:pt>
                <c:pt idx="354">
                  <c:v>41781</c:v>
                </c:pt>
                <c:pt idx="355">
                  <c:v>41782</c:v>
                </c:pt>
                <c:pt idx="356">
                  <c:v>41785</c:v>
                </c:pt>
                <c:pt idx="357">
                  <c:v>41786</c:v>
                </c:pt>
                <c:pt idx="358">
                  <c:v>41787</c:v>
                </c:pt>
                <c:pt idx="359">
                  <c:v>41788</c:v>
                </c:pt>
                <c:pt idx="360">
                  <c:v>41789</c:v>
                </c:pt>
                <c:pt idx="361">
                  <c:v>41792</c:v>
                </c:pt>
                <c:pt idx="362">
                  <c:v>41793</c:v>
                </c:pt>
                <c:pt idx="363">
                  <c:v>41794</c:v>
                </c:pt>
                <c:pt idx="364">
                  <c:v>41795</c:v>
                </c:pt>
                <c:pt idx="365">
                  <c:v>41796</c:v>
                </c:pt>
                <c:pt idx="366">
                  <c:v>41799</c:v>
                </c:pt>
                <c:pt idx="367">
                  <c:v>41800</c:v>
                </c:pt>
                <c:pt idx="368">
                  <c:v>41801</c:v>
                </c:pt>
                <c:pt idx="369">
                  <c:v>41802</c:v>
                </c:pt>
                <c:pt idx="370">
                  <c:v>41803</c:v>
                </c:pt>
                <c:pt idx="371">
                  <c:v>41806</c:v>
                </c:pt>
                <c:pt idx="372">
                  <c:v>41807</c:v>
                </c:pt>
                <c:pt idx="373">
                  <c:v>41808</c:v>
                </c:pt>
                <c:pt idx="374">
                  <c:v>41809</c:v>
                </c:pt>
                <c:pt idx="375">
                  <c:v>41810</c:v>
                </c:pt>
                <c:pt idx="376">
                  <c:v>41813</c:v>
                </c:pt>
                <c:pt idx="377">
                  <c:v>41814</c:v>
                </c:pt>
                <c:pt idx="378">
                  <c:v>41815</c:v>
                </c:pt>
                <c:pt idx="379">
                  <c:v>41816</c:v>
                </c:pt>
                <c:pt idx="380">
                  <c:v>41817</c:v>
                </c:pt>
                <c:pt idx="381">
                  <c:v>41820</c:v>
                </c:pt>
                <c:pt idx="382">
                  <c:v>41821</c:v>
                </c:pt>
                <c:pt idx="383">
                  <c:v>41822</c:v>
                </c:pt>
                <c:pt idx="384">
                  <c:v>41823</c:v>
                </c:pt>
                <c:pt idx="385">
                  <c:v>41824</c:v>
                </c:pt>
                <c:pt idx="386">
                  <c:v>41827</c:v>
                </c:pt>
                <c:pt idx="387">
                  <c:v>41828</c:v>
                </c:pt>
                <c:pt idx="388">
                  <c:v>41829</c:v>
                </c:pt>
                <c:pt idx="389">
                  <c:v>41830</c:v>
                </c:pt>
                <c:pt idx="390">
                  <c:v>41831</c:v>
                </c:pt>
                <c:pt idx="391">
                  <c:v>41834</c:v>
                </c:pt>
                <c:pt idx="392">
                  <c:v>41835</c:v>
                </c:pt>
                <c:pt idx="393">
                  <c:v>41836</c:v>
                </c:pt>
                <c:pt idx="394">
                  <c:v>41837</c:v>
                </c:pt>
                <c:pt idx="395">
                  <c:v>41838</c:v>
                </c:pt>
                <c:pt idx="396">
                  <c:v>41841</c:v>
                </c:pt>
                <c:pt idx="397">
                  <c:v>41842</c:v>
                </c:pt>
                <c:pt idx="398">
                  <c:v>41843</c:v>
                </c:pt>
                <c:pt idx="399">
                  <c:v>41844</c:v>
                </c:pt>
                <c:pt idx="400">
                  <c:v>41845</c:v>
                </c:pt>
                <c:pt idx="401">
                  <c:v>41848</c:v>
                </c:pt>
                <c:pt idx="402">
                  <c:v>41849</c:v>
                </c:pt>
                <c:pt idx="403">
                  <c:v>41850</c:v>
                </c:pt>
                <c:pt idx="404">
                  <c:v>41851</c:v>
                </c:pt>
                <c:pt idx="405">
                  <c:v>41852</c:v>
                </c:pt>
                <c:pt idx="406">
                  <c:v>41855</c:v>
                </c:pt>
                <c:pt idx="407">
                  <c:v>41856</c:v>
                </c:pt>
                <c:pt idx="408">
                  <c:v>41857</c:v>
                </c:pt>
                <c:pt idx="409">
                  <c:v>41858</c:v>
                </c:pt>
                <c:pt idx="410">
                  <c:v>41859</c:v>
                </c:pt>
                <c:pt idx="411">
                  <c:v>41862</c:v>
                </c:pt>
                <c:pt idx="412">
                  <c:v>41863</c:v>
                </c:pt>
                <c:pt idx="413">
                  <c:v>41864</c:v>
                </c:pt>
                <c:pt idx="414">
                  <c:v>41865</c:v>
                </c:pt>
                <c:pt idx="415">
                  <c:v>41866</c:v>
                </c:pt>
                <c:pt idx="416">
                  <c:v>41869</c:v>
                </c:pt>
                <c:pt idx="417">
                  <c:v>41870</c:v>
                </c:pt>
                <c:pt idx="418">
                  <c:v>41871</c:v>
                </c:pt>
                <c:pt idx="419">
                  <c:v>41872</c:v>
                </c:pt>
                <c:pt idx="420">
                  <c:v>41873</c:v>
                </c:pt>
                <c:pt idx="421">
                  <c:v>41876</c:v>
                </c:pt>
                <c:pt idx="422">
                  <c:v>41877</c:v>
                </c:pt>
                <c:pt idx="423">
                  <c:v>41878</c:v>
                </c:pt>
                <c:pt idx="424">
                  <c:v>41879</c:v>
                </c:pt>
                <c:pt idx="425">
                  <c:v>41880</c:v>
                </c:pt>
                <c:pt idx="426">
                  <c:v>41883</c:v>
                </c:pt>
                <c:pt idx="427">
                  <c:v>41884</c:v>
                </c:pt>
                <c:pt idx="428">
                  <c:v>41885</c:v>
                </c:pt>
                <c:pt idx="429">
                  <c:v>41886</c:v>
                </c:pt>
                <c:pt idx="430">
                  <c:v>41887</c:v>
                </c:pt>
                <c:pt idx="431">
                  <c:v>41890</c:v>
                </c:pt>
                <c:pt idx="432">
                  <c:v>41891</c:v>
                </c:pt>
                <c:pt idx="433">
                  <c:v>41892</c:v>
                </c:pt>
                <c:pt idx="434">
                  <c:v>41893</c:v>
                </c:pt>
                <c:pt idx="435">
                  <c:v>41894</c:v>
                </c:pt>
                <c:pt idx="436">
                  <c:v>41897</c:v>
                </c:pt>
                <c:pt idx="437">
                  <c:v>41898</c:v>
                </c:pt>
                <c:pt idx="438">
                  <c:v>41899</c:v>
                </c:pt>
                <c:pt idx="439">
                  <c:v>41900</c:v>
                </c:pt>
                <c:pt idx="440">
                  <c:v>41901</c:v>
                </c:pt>
                <c:pt idx="441">
                  <c:v>41904</c:v>
                </c:pt>
                <c:pt idx="442">
                  <c:v>41905</c:v>
                </c:pt>
                <c:pt idx="443">
                  <c:v>41906</c:v>
                </c:pt>
                <c:pt idx="444">
                  <c:v>41907</c:v>
                </c:pt>
                <c:pt idx="445">
                  <c:v>41908</c:v>
                </c:pt>
                <c:pt idx="446">
                  <c:v>41911</c:v>
                </c:pt>
                <c:pt idx="447">
                  <c:v>41912</c:v>
                </c:pt>
                <c:pt idx="448">
                  <c:v>41913</c:v>
                </c:pt>
                <c:pt idx="449">
                  <c:v>41914</c:v>
                </c:pt>
                <c:pt idx="450">
                  <c:v>41915</c:v>
                </c:pt>
                <c:pt idx="451">
                  <c:v>41918</c:v>
                </c:pt>
                <c:pt idx="452">
                  <c:v>41919</c:v>
                </c:pt>
                <c:pt idx="453">
                  <c:v>41920</c:v>
                </c:pt>
                <c:pt idx="454">
                  <c:v>41921</c:v>
                </c:pt>
                <c:pt idx="455">
                  <c:v>41922</c:v>
                </c:pt>
                <c:pt idx="456">
                  <c:v>41925</c:v>
                </c:pt>
                <c:pt idx="457">
                  <c:v>41926</c:v>
                </c:pt>
                <c:pt idx="458">
                  <c:v>41927</c:v>
                </c:pt>
                <c:pt idx="459">
                  <c:v>41928</c:v>
                </c:pt>
                <c:pt idx="460">
                  <c:v>41929</c:v>
                </c:pt>
                <c:pt idx="461">
                  <c:v>41932</c:v>
                </c:pt>
                <c:pt idx="462">
                  <c:v>41933</c:v>
                </c:pt>
                <c:pt idx="463">
                  <c:v>41934</c:v>
                </c:pt>
                <c:pt idx="464">
                  <c:v>41935</c:v>
                </c:pt>
                <c:pt idx="465">
                  <c:v>41936</c:v>
                </c:pt>
                <c:pt idx="466">
                  <c:v>41939</c:v>
                </c:pt>
                <c:pt idx="467">
                  <c:v>41940</c:v>
                </c:pt>
                <c:pt idx="468">
                  <c:v>41941</c:v>
                </c:pt>
                <c:pt idx="469">
                  <c:v>41942</c:v>
                </c:pt>
                <c:pt idx="470">
                  <c:v>41943</c:v>
                </c:pt>
                <c:pt idx="471">
                  <c:v>41946</c:v>
                </c:pt>
                <c:pt idx="472">
                  <c:v>41947</c:v>
                </c:pt>
                <c:pt idx="473">
                  <c:v>41948</c:v>
                </c:pt>
                <c:pt idx="474">
                  <c:v>41949</c:v>
                </c:pt>
                <c:pt idx="475">
                  <c:v>41950</c:v>
                </c:pt>
                <c:pt idx="476">
                  <c:v>41953</c:v>
                </c:pt>
                <c:pt idx="477">
                  <c:v>41954</c:v>
                </c:pt>
                <c:pt idx="478">
                  <c:v>41955</c:v>
                </c:pt>
                <c:pt idx="479">
                  <c:v>41956</c:v>
                </c:pt>
                <c:pt idx="480">
                  <c:v>41957</c:v>
                </c:pt>
                <c:pt idx="481">
                  <c:v>41960</c:v>
                </c:pt>
                <c:pt idx="482">
                  <c:v>41961</c:v>
                </c:pt>
                <c:pt idx="483">
                  <c:v>41962</c:v>
                </c:pt>
                <c:pt idx="484">
                  <c:v>41963</c:v>
                </c:pt>
                <c:pt idx="485">
                  <c:v>41964</c:v>
                </c:pt>
                <c:pt idx="486">
                  <c:v>41967</c:v>
                </c:pt>
                <c:pt idx="487">
                  <c:v>41968</c:v>
                </c:pt>
                <c:pt idx="488">
                  <c:v>41969</c:v>
                </c:pt>
                <c:pt idx="489">
                  <c:v>41970</c:v>
                </c:pt>
                <c:pt idx="490">
                  <c:v>41971</c:v>
                </c:pt>
                <c:pt idx="491">
                  <c:v>41974</c:v>
                </c:pt>
                <c:pt idx="492">
                  <c:v>41975</c:v>
                </c:pt>
                <c:pt idx="493">
                  <c:v>41976</c:v>
                </c:pt>
                <c:pt idx="494">
                  <c:v>41977</c:v>
                </c:pt>
                <c:pt idx="495">
                  <c:v>41978</c:v>
                </c:pt>
                <c:pt idx="496">
                  <c:v>41981</c:v>
                </c:pt>
                <c:pt idx="497">
                  <c:v>41982</c:v>
                </c:pt>
                <c:pt idx="498">
                  <c:v>41983</c:v>
                </c:pt>
                <c:pt idx="499">
                  <c:v>41984</c:v>
                </c:pt>
                <c:pt idx="500">
                  <c:v>41985</c:v>
                </c:pt>
                <c:pt idx="501">
                  <c:v>41988</c:v>
                </c:pt>
                <c:pt idx="502">
                  <c:v>41989</c:v>
                </c:pt>
                <c:pt idx="503">
                  <c:v>41990</c:v>
                </c:pt>
                <c:pt idx="504">
                  <c:v>41991</c:v>
                </c:pt>
                <c:pt idx="505">
                  <c:v>41992</c:v>
                </c:pt>
                <c:pt idx="506">
                  <c:v>41995</c:v>
                </c:pt>
                <c:pt idx="507">
                  <c:v>41996</c:v>
                </c:pt>
                <c:pt idx="508">
                  <c:v>41997</c:v>
                </c:pt>
                <c:pt idx="509">
                  <c:v>42002</c:v>
                </c:pt>
                <c:pt idx="510">
                  <c:v>42003</c:v>
                </c:pt>
                <c:pt idx="511">
                  <c:v>42004</c:v>
                </c:pt>
                <c:pt idx="512">
                  <c:v>42006</c:v>
                </c:pt>
                <c:pt idx="513">
                  <c:v>42009</c:v>
                </c:pt>
                <c:pt idx="514">
                  <c:v>42010</c:v>
                </c:pt>
                <c:pt idx="515">
                  <c:v>42011</c:v>
                </c:pt>
                <c:pt idx="516">
                  <c:v>42012</c:v>
                </c:pt>
                <c:pt idx="517">
                  <c:v>42013</c:v>
                </c:pt>
                <c:pt idx="518">
                  <c:v>42016</c:v>
                </c:pt>
                <c:pt idx="519">
                  <c:v>42017</c:v>
                </c:pt>
                <c:pt idx="520">
                  <c:v>42018</c:v>
                </c:pt>
                <c:pt idx="521">
                  <c:v>42019</c:v>
                </c:pt>
                <c:pt idx="522">
                  <c:v>42020</c:v>
                </c:pt>
                <c:pt idx="523">
                  <c:v>42023</c:v>
                </c:pt>
                <c:pt idx="524">
                  <c:v>42024</c:v>
                </c:pt>
                <c:pt idx="525">
                  <c:v>42025</c:v>
                </c:pt>
                <c:pt idx="526">
                  <c:v>42026</c:v>
                </c:pt>
                <c:pt idx="527">
                  <c:v>42027</c:v>
                </c:pt>
                <c:pt idx="528">
                  <c:v>42030</c:v>
                </c:pt>
                <c:pt idx="529">
                  <c:v>42031</c:v>
                </c:pt>
                <c:pt idx="530">
                  <c:v>42032</c:v>
                </c:pt>
                <c:pt idx="531">
                  <c:v>42033</c:v>
                </c:pt>
                <c:pt idx="532">
                  <c:v>42034</c:v>
                </c:pt>
                <c:pt idx="533">
                  <c:v>42037</c:v>
                </c:pt>
                <c:pt idx="534">
                  <c:v>42038</c:v>
                </c:pt>
                <c:pt idx="535">
                  <c:v>42039</c:v>
                </c:pt>
                <c:pt idx="536">
                  <c:v>42040</c:v>
                </c:pt>
                <c:pt idx="537">
                  <c:v>42041</c:v>
                </c:pt>
                <c:pt idx="538">
                  <c:v>42044</c:v>
                </c:pt>
                <c:pt idx="539">
                  <c:v>42045</c:v>
                </c:pt>
                <c:pt idx="540">
                  <c:v>42046</c:v>
                </c:pt>
                <c:pt idx="541">
                  <c:v>42047</c:v>
                </c:pt>
                <c:pt idx="542">
                  <c:v>42048</c:v>
                </c:pt>
                <c:pt idx="543">
                  <c:v>42051</c:v>
                </c:pt>
                <c:pt idx="544">
                  <c:v>42052</c:v>
                </c:pt>
                <c:pt idx="545">
                  <c:v>42053</c:v>
                </c:pt>
                <c:pt idx="546">
                  <c:v>42054</c:v>
                </c:pt>
                <c:pt idx="547">
                  <c:v>42055</c:v>
                </c:pt>
                <c:pt idx="548">
                  <c:v>42058</c:v>
                </c:pt>
                <c:pt idx="549">
                  <c:v>42059</c:v>
                </c:pt>
              </c:numCache>
            </c:numRef>
          </c:cat>
          <c:val>
            <c:numRef>
              <c:f>Sheet1!$B$2:$B$551</c:f>
              <c:numCache>
                <c:formatCode>General</c:formatCode>
                <c:ptCount val="550"/>
                <c:pt idx="0">
                  <c:v>102.8593298957873</c:v>
                </c:pt>
                <c:pt idx="1">
                  <c:v>102.51332037104426</c:v>
                </c:pt>
                <c:pt idx="2">
                  <c:v>102.8160811306482</c:v>
                </c:pt>
                <c:pt idx="3">
                  <c:v>102.28768529258278</c:v>
                </c:pt>
                <c:pt idx="4">
                  <c:v>102.13022780743486</c:v>
                </c:pt>
                <c:pt idx="5">
                  <c:v>102.69574589520305</c:v>
                </c:pt>
                <c:pt idx="6">
                  <c:v>102.80597476191365</c:v>
                </c:pt>
                <c:pt idx="7">
                  <c:v>103.16211832263345</c:v>
                </c:pt>
                <c:pt idx="8">
                  <c:v>103.0570235693973</c:v>
                </c:pt>
                <c:pt idx="9">
                  <c:v>102.60815701823181</c:v>
                </c:pt>
                <c:pt idx="10">
                  <c:v>102.64728311540622</c:v>
                </c:pt>
                <c:pt idx="11">
                  <c:v>103.27220626627091</c:v>
                </c:pt>
                <c:pt idx="12">
                  <c:v>102.91523508968672</c:v>
                </c:pt>
                <c:pt idx="13">
                  <c:v>103.5848378047739</c:v>
                </c:pt>
                <c:pt idx="14">
                  <c:v>103.21390928728511</c:v>
                </c:pt>
                <c:pt idx="15">
                  <c:v>102.88909632297052</c:v>
                </c:pt>
                <c:pt idx="16">
                  <c:v>103.60958290372781</c:v>
                </c:pt>
                <c:pt idx="17">
                  <c:v>104.44133350009437</c:v>
                </c:pt>
                <c:pt idx="18">
                  <c:v>104.44471124917966</c:v>
                </c:pt>
                <c:pt idx="19">
                  <c:v>104.64496868637609</c:v>
                </c:pt>
                <c:pt idx="20">
                  <c:v>103.98449139710063</c:v>
                </c:pt>
                <c:pt idx="21">
                  <c:v>102.85616142572691</c:v>
                </c:pt>
                <c:pt idx="22">
                  <c:v>103.1233971119369</c:v>
                </c:pt>
                <c:pt idx="23">
                  <c:v>99.905020949509421</c:v>
                </c:pt>
                <c:pt idx="24">
                  <c:v>100.88728284902193</c:v>
                </c:pt>
                <c:pt idx="25">
                  <c:v>99.627236576559696</c:v>
                </c:pt>
                <c:pt idx="26">
                  <c:v>98.891865893604518</c:v>
                </c:pt>
                <c:pt idx="27">
                  <c:v>100.11133570479329</c:v>
                </c:pt>
                <c:pt idx="28">
                  <c:v>99.825553618771991</c:v>
                </c:pt>
                <c:pt idx="29">
                  <c:v>100.81843429797587</c:v>
                </c:pt>
                <c:pt idx="30">
                  <c:v>101.12510685727345</c:v>
                </c:pt>
                <c:pt idx="31">
                  <c:v>100.30911925925443</c:v>
                </c:pt>
                <c:pt idx="32">
                  <c:v>99.546239866487198</c:v>
                </c:pt>
                <c:pt idx="33">
                  <c:v>99.598816891259148</c:v>
                </c:pt>
                <c:pt idx="34">
                  <c:v>101.33726653662579</c:v>
                </c:pt>
                <c:pt idx="35">
                  <c:v>100.50045520302567</c:v>
                </c:pt>
                <c:pt idx="36">
                  <c:v>98.206165746619305</c:v>
                </c:pt>
                <c:pt idx="37">
                  <c:v>100.10022635815223</c:v>
                </c:pt>
                <c:pt idx="38">
                  <c:v>100.93129093405344</c:v>
                </c:pt>
                <c:pt idx="39">
                  <c:v>97.872696193117037</c:v>
                </c:pt>
                <c:pt idx="40">
                  <c:v>99.428285100359858</c:v>
                </c:pt>
                <c:pt idx="41">
                  <c:v>100.24018883594343</c:v>
                </c:pt>
                <c:pt idx="42">
                  <c:v>99.598813696176848</c:v>
                </c:pt>
                <c:pt idx="43">
                  <c:v>99.711953662324518</c:v>
                </c:pt>
                <c:pt idx="44">
                  <c:v>102.13587587198113</c:v>
                </c:pt>
                <c:pt idx="45">
                  <c:v>102.03213292855048</c:v>
                </c:pt>
                <c:pt idx="46">
                  <c:v>102.45130884835589</c:v>
                </c:pt>
                <c:pt idx="47">
                  <c:v>103.91248200133022</c:v>
                </c:pt>
                <c:pt idx="48">
                  <c:v>103.52501784433056</c:v>
                </c:pt>
                <c:pt idx="49">
                  <c:v>103.26356791368919</c:v>
                </c:pt>
                <c:pt idx="50">
                  <c:v>102.99203486765012</c:v>
                </c:pt>
                <c:pt idx="51">
                  <c:v>104.52534232721341</c:v>
                </c:pt>
                <c:pt idx="52">
                  <c:v>103.80787293900597</c:v>
                </c:pt>
                <c:pt idx="53">
                  <c:v>103.115324370672</c:v>
                </c:pt>
                <c:pt idx="54">
                  <c:v>101.8369419856233</c:v>
                </c:pt>
                <c:pt idx="55">
                  <c:v>103.24925925471568</c:v>
                </c:pt>
                <c:pt idx="56">
                  <c:v>102.29602649060195</c:v>
                </c:pt>
                <c:pt idx="57">
                  <c:v>102.20718795012026</c:v>
                </c:pt>
                <c:pt idx="58">
                  <c:v>100.97525934003765</c:v>
                </c:pt>
                <c:pt idx="59">
                  <c:v>100.66192660974758</c:v>
                </c:pt>
                <c:pt idx="60">
                  <c:v>99.56984931389259</c:v>
                </c:pt>
                <c:pt idx="61">
                  <c:v>100.01237773472229</c:v>
                </c:pt>
                <c:pt idx="62">
                  <c:v>102.13670892475555</c:v>
                </c:pt>
                <c:pt idx="63">
                  <c:v>100.58106411428817</c:v>
                </c:pt>
                <c:pt idx="64">
                  <c:v>99.906122891416715</c:v>
                </c:pt>
                <c:pt idx="65">
                  <c:v>98.529669399401982</c:v>
                </c:pt>
                <c:pt idx="66">
                  <c:v>98.721810055564006</c:v>
                </c:pt>
                <c:pt idx="67">
                  <c:v>98.949314970231029</c:v>
                </c:pt>
                <c:pt idx="68">
                  <c:v>101.4895597618216</c:v>
                </c:pt>
                <c:pt idx="69">
                  <c:v>102.11394102372142</c:v>
                </c:pt>
                <c:pt idx="70">
                  <c:v>100.64719102441803</c:v>
                </c:pt>
                <c:pt idx="71">
                  <c:v>100.31172458474323</c:v>
                </c:pt>
                <c:pt idx="72">
                  <c:v>99.723508580292489</c:v>
                </c:pt>
                <c:pt idx="73">
                  <c:v>97.591608452539788</c:v>
                </c:pt>
                <c:pt idx="74">
                  <c:v>97.668379293028721</c:v>
                </c:pt>
                <c:pt idx="75">
                  <c:v>98.482633655531899</c:v>
                </c:pt>
                <c:pt idx="76">
                  <c:v>98.838729299858244</c:v>
                </c:pt>
                <c:pt idx="77">
                  <c:v>101.93085538145183</c:v>
                </c:pt>
                <c:pt idx="78">
                  <c:v>103.44609019602764</c:v>
                </c:pt>
                <c:pt idx="79">
                  <c:v>103.59959103785781</c:v>
                </c:pt>
                <c:pt idx="80">
                  <c:v>102.99205062941466</c:v>
                </c:pt>
                <c:pt idx="81">
                  <c:v>104.56081601955475</c:v>
                </c:pt>
                <c:pt idx="82">
                  <c:v>104.35564913514753</c:v>
                </c:pt>
                <c:pt idx="83">
                  <c:v>104.34706784242748</c:v>
                </c:pt>
                <c:pt idx="84">
                  <c:v>104.77792628089873</c:v>
                </c:pt>
                <c:pt idx="85">
                  <c:v>106.55915131042435</c:v>
                </c:pt>
                <c:pt idx="86">
                  <c:v>106.19111958402281</c:v>
                </c:pt>
                <c:pt idx="87">
                  <c:v>106.98841264477998</c:v>
                </c:pt>
                <c:pt idx="88">
                  <c:v>107.75310670658597</c:v>
                </c:pt>
                <c:pt idx="89">
                  <c:v>107.61535134028962</c:v>
                </c:pt>
                <c:pt idx="90">
                  <c:v>108.0987405062756</c:v>
                </c:pt>
                <c:pt idx="91">
                  <c:v>107.78614511032667</c:v>
                </c:pt>
                <c:pt idx="92">
                  <c:v>108.58610633667851</c:v>
                </c:pt>
                <c:pt idx="93">
                  <c:v>109.18657795482967</c:v>
                </c:pt>
                <c:pt idx="94">
                  <c:v>109.12993210097952</c:v>
                </c:pt>
                <c:pt idx="95">
                  <c:v>109.70729857219696</c:v>
                </c:pt>
                <c:pt idx="96">
                  <c:v>110.16337168216006</c:v>
                </c:pt>
                <c:pt idx="97">
                  <c:v>110.14361343187106</c:v>
                </c:pt>
                <c:pt idx="98">
                  <c:v>110.65906332308658</c:v>
                </c:pt>
                <c:pt idx="99">
                  <c:v>108.36772521358523</c:v>
                </c:pt>
                <c:pt idx="100">
                  <c:v>107.93241545431985</c:v>
                </c:pt>
                <c:pt idx="101">
                  <c:v>109.14864175695784</c:v>
                </c:pt>
                <c:pt idx="102">
                  <c:v>110.76856087869355</c:v>
                </c:pt>
                <c:pt idx="103">
                  <c:v>108.84948945367864</c:v>
                </c:pt>
                <c:pt idx="104">
                  <c:v>109.36408239069695</c:v>
                </c:pt>
                <c:pt idx="105">
                  <c:v>108.21532648838573</c:v>
                </c:pt>
                <c:pt idx="106">
                  <c:v>107.35535255168818</c:v>
                </c:pt>
                <c:pt idx="107">
                  <c:v>107.66624124389334</c:v>
                </c:pt>
                <c:pt idx="108">
                  <c:v>105.91631912459768</c:v>
                </c:pt>
                <c:pt idx="109">
                  <c:v>104.65410159753939</c:v>
                </c:pt>
                <c:pt idx="110">
                  <c:v>106.5171935067772</c:v>
                </c:pt>
                <c:pt idx="111">
                  <c:v>106.3321175758703</c:v>
                </c:pt>
                <c:pt idx="112">
                  <c:v>104.92957732617478</c:v>
                </c:pt>
                <c:pt idx="113">
                  <c:v>104.317234850453</c:v>
                </c:pt>
                <c:pt idx="114">
                  <c:v>104.13335423743283</c:v>
                </c:pt>
                <c:pt idx="115">
                  <c:v>104.34782200475836</c:v>
                </c:pt>
                <c:pt idx="116">
                  <c:v>105.7282399332915</c:v>
                </c:pt>
                <c:pt idx="117">
                  <c:v>105.65654397926902</c:v>
                </c:pt>
                <c:pt idx="118">
                  <c:v>104.99972820112066</c:v>
                </c:pt>
                <c:pt idx="119">
                  <c:v>101.25680846797522</c:v>
                </c:pt>
                <c:pt idx="120">
                  <c:v>99.825594465330795</c:v>
                </c:pt>
                <c:pt idx="121">
                  <c:v>98.51571044603871</c:v>
                </c:pt>
                <c:pt idx="122">
                  <c:v>99.741615568929362</c:v>
                </c:pt>
                <c:pt idx="123">
                  <c:v>102.03225743315851</c:v>
                </c:pt>
                <c:pt idx="124">
                  <c:v>102.70256396054688</c:v>
                </c:pt>
                <c:pt idx="125">
                  <c:v>102.03438505697521</c:v>
                </c:pt>
                <c:pt idx="126">
                  <c:v>102.82275416810901</c:v>
                </c:pt>
                <c:pt idx="127">
                  <c:v>102.05568097259672</c:v>
                </c:pt>
                <c:pt idx="128">
                  <c:v>100.83576802910805</c:v>
                </c:pt>
                <c:pt idx="129">
                  <c:v>103.81845822812976</c:v>
                </c:pt>
                <c:pt idx="130">
                  <c:v>101.83066187750227</c:v>
                </c:pt>
                <c:pt idx="131">
                  <c:v>103.99805754878793</c:v>
                </c:pt>
                <c:pt idx="132">
                  <c:v>104.51878472632976</c:v>
                </c:pt>
                <c:pt idx="133">
                  <c:v>104.38092504756924</c:v>
                </c:pt>
                <c:pt idx="134">
                  <c:v>105.23895294559451</c:v>
                </c:pt>
                <c:pt idx="135">
                  <c:v>104.98622047141924</c:v>
                </c:pt>
                <c:pt idx="136">
                  <c:v>105.55638630192274</c:v>
                </c:pt>
                <c:pt idx="137">
                  <c:v>104.72808438334641</c:v>
                </c:pt>
                <c:pt idx="138">
                  <c:v>105.36960852619985</c:v>
                </c:pt>
                <c:pt idx="139">
                  <c:v>106.79342764460255</c:v>
                </c:pt>
                <c:pt idx="140">
                  <c:v>106.72017302775559</c:v>
                </c:pt>
                <c:pt idx="141">
                  <c:v>107.08682852518201</c:v>
                </c:pt>
                <c:pt idx="142">
                  <c:v>106.98441576426544</c:v>
                </c:pt>
                <c:pt idx="143">
                  <c:v>108.15062343522619</c:v>
                </c:pt>
                <c:pt idx="144">
                  <c:v>107.67633271393058</c:v>
                </c:pt>
                <c:pt idx="145">
                  <c:v>107.7448548615059</c:v>
                </c:pt>
                <c:pt idx="146">
                  <c:v>107.73156930950684</c:v>
                </c:pt>
                <c:pt idx="147">
                  <c:v>108.41840095077507</c:v>
                </c:pt>
                <c:pt idx="148">
                  <c:v>108.76685273752545</c:v>
                </c:pt>
                <c:pt idx="149">
                  <c:v>110.36551887030291</c:v>
                </c:pt>
                <c:pt idx="150">
                  <c:v>110.45318550458856</c:v>
                </c:pt>
                <c:pt idx="151">
                  <c:v>110.38234271345502</c:v>
                </c:pt>
                <c:pt idx="152">
                  <c:v>109.65903056811911</c:v>
                </c:pt>
                <c:pt idx="153">
                  <c:v>109.82843384219032</c:v>
                </c:pt>
                <c:pt idx="154">
                  <c:v>110.71026538131751</c:v>
                </c:pt>
                <c:pt idx="155">
                  <c:v>111.0560521343818</c:v>
                </c:pt>
                <c:pt idx="156">
                  <c:v>111.11278309425269</c:v>
                </c:pt>
                <c:pt idx="157">
                  <c:v>111.68319861493849</c:v>
                </c:pt>
                <c:pt idx="158">
                  <c:v>112.09414521963548</c:v>
                </c:pt>
                <c:pt idx="159">
                  <c:v>111.45307883735875</c:v>
                </c:pt>
                <c:pt idx="160">
                  <c:v>112.17383912877573</c:v>
                </c:pt>
                <c:pt idx="161">
                  <c:v>110.95772341501139</c:v>
                </c:pt>
                <c:pt idx="162">
                  <c:v>109.57035093273475</c:v>
                </c:pt>
                <c:pt idx="163">
                  <c:v>109.04406633594657</c:v>
                </c:pt>
                <c:pt idx="164">
                  <c:v>110.53097181038906</c:v>
                </c:pt>
                <c:pt idx="165">
                  <c:v>111.06641734904912</c:v>
                </c:pt>
                <c:pt idx="166">
                  <c:v>110.88600422546415</c:v>
                </c:pt>
                <c:pt idx="167">
                  <c:v>108.05758106945666</c:v>
                </c:pt>
                <c:pt idx="168">
                  <c:v>107.80597463725555</c:v>
                </c:pt>
                <c:pt idx="169">
                  <c:v>108.4209407709718</c:v>
                </c:pt>
                <c:pt idx="170">
                  <c:v>106.97423371256082</c:v>
                </c:pt>
                <c:pt idx="171">
                  <c:v>109.04873870963094</c:v>
                </c:pt>
                <c:pt idx="172">
                  <c:v>108.22972081187314</c:v>
                </c:pt>
                <c:pt idx="173">
                  <c:v>108.42365949344347</c:v>
                </c:pt>
                <c:pt idx="174">
                  <c:v>109.05184181511981</c:v>
                </c:pt>
                <c:pt idx="175">
                  <c:v>110.2122148767947</c:v>
                </c:pt>
                <c:pt idx="176">
                  <c:v>110.00597603913504</c:v>
                </c:pt>
                <c:pt idx="177">
                  <c:v>112.11257451263025</c:v>
                </c:pt>
                <c:pt idx="178">
                  <c:v>112.58779540966809</c:v>
                </c:pt>
                <c:pt idx="179">
                  <c:v>112.53088887485718</c:v>
                </c:pt>
                <c:pt idx="180">
                  <c:v>112.73143459125424</c:v>
                </c:pt>
                <c:pt idx="181">
                  <c:v>113.81919412055973</c:v>
                </c:pt>
                <c:pt idx="182">
                  <c:v>113.67066998845398</c:v>
                </c:pt>
                <c:pt idx="183">
                  <c:v>114.38445659159804</c:v>
                </c:pt>
                <c:pt idx="184">
                  <c:v>115.46141514800478</c:v>
                </c:pt>
                <c:pt idx="185">
                  <c:v>115.10365434564083</c:v>
                </c:pt>
                <c:pt idx="186">
                  <c:v>114.37832403935597</c:v>
                </c:pt>
                <c:pt idx="187">
                  <c:v>115.11410495507334</c:v>
                </c:pt>
                <c:pt idx="188">
                  <c:v>115.28594167861033</c:v>
                </c:pt>
                <c:pt idx="189">
                  <c:v>115.11707771750149</c:v>
                </c:pt>
                <c:pt idx="190">
                  <c:v>114.97523271330829</c:v>
                </c:pt>
                <c:pt idx="191">
                  <c:v>113.97760149277913</c:v>
                </c:pt>
                <c:pt idx="192">
                  <c:v>115.54870723439466</c:v>
                </c:pt>
                <c:pt idx="193">
                  <c:v>114.96921717662318</c:v>
                </c:pt>
                <c:pt idx="194">
                  <c:v>114.33221811988801</c:v>
                </c:pt>
                <c:pt idx="195">
                  <c:v>115.36725607078367</c:v>
                </c:pt>
                <c:pt idx="196">
                  <c:v>115.15595735499168</c:v>
                </c:pt>
                <c:pt idx="197">
                  <c:v>114.37955964403578</c:v>
                </c:pt>
                <c:pt idx="198">
                  <c:v>114.42782503148543</c:v>
                </c:pt>
                <c:pt idx="199">
                  <c:v>116.99464535623709</c:v>
                </c:pt>
                <c:pt idx="200">
                  <c:v>117.18424699736752</c:v>
                </c:pt>
                <c:pt idx="201">
                  <c:v>117.32040740350988</c:v>
                </c:pt>
                <c:pt idx="202">
                  <c:v>118.3851127783317</c:v>
                </c:pt>
                <c:pt idx="203">
                  <c:v>118.9225160821197</c:v>
                </c:pt>
                <c:pt idx="204">
                  <c:v>118.7243689153144</c:v>
                </c:pt>
                <c:pt idx="205">
                  <c:v>119.63370758240345</c:v>
                </c:pt>
                <c:pt idx="206">
                  <c:v>119.45281971678972</c:v>
                </c:pt>
                <c:pt idx="207">
                  <c:v>120.1295711962146</c:v>
                </c:pt>
                <c:pt idx="208">
                  <c:v>118.99925944139569</c:v>
                </c:pt>
                <c:pt idx="209">
                  <c:v>119.86308942286615</c:v>
                </c:pt>
                <c:pt idx="210">
                  <c:v>119.68231859487376</c:v>
                </c:pt>
                <c:pt idx="211">
                  <c:v>119.18793297794845</c:v>
                </c:pt>
                <c:pt idx="212">
                  <c:v>120.32382794850331</c:v>
                </c:pt>
                <c:pt idx="213">
                  <c:v>119.92934490909641</c:v>
                </c:pt>
                <c:pt idx="214">
                  <c:v>121.01065608738175</c:v>
                </c:pt>
                <c:pt idx="215">
                  <c:v>120.38676091260133</c:v>
                </c:pt>
                <c:pt idx="216">
                  <c:v>120.75249211598262</c:v>
                </c:pt>
                <c:pt idx="217">
                  <c:v>119.76189915012905</c:v>
                </c:pt>
                <c:pt idx="218">
                  <c:v>120.68689538902871</c:v>
                </c:pt>
                <c:pt idx="219">
                  <c:v>120.15571162960282</c:v>
                </c:pt>
                <c:pt idx="220">
                  <c:v>119.83497002947233</c:v>
                </c:pt>
                <c:pt idx="221">
                  <c:v>120.55907711968</c:v>
                </c:pt>
                <c:pt idx="222">
                  <c:v>119.84309156653401</c:v>
                </c:pt>
                <c:pt idx="223">
                  <c:v>119.33874495235483</c:v>
                </c:pt>
                <c:pt idx="224">
                  <c:v>120.61941080963251</c:v>
                </c:pt>
                <c:pt idx="225">
                  <c:v>120.73569305972509</c:v>
                </c:pt>
                <c:pt idx="226">
                  <c:v>121.79553678329793</c:v>
                </c:pt>
                <c:pt idx="227">
                  <c:v>120.52460832592659</c:v>
                </c:pt>
                <c:pt idx="228">
                  <c:v>120.44791103114953</c:v>
                </c:pt>
                <c:pt idx="229">
                  <c:v>120.32785391080702</c:v>
                </c:pt>
                <c:pt idx="230">
                  <c:v>120.78942859173263</c:v>
                </c:pt>
                <c:pt idx="231">
                  <c:v>121.45337650541695</c:v>
                </c:pt>
                <c:pt idx="232">
                  <c:v>121.04929069606071</c:v>
                </c:pt>
                <c:pt idx="233">
                  <c:v>121.84280102797884</c:v>
                </c:pt>
                <c:pt idx="234">
                  <c:v>122.24702064618295</c:v>
                </c:pt>
                <c:pt idx="235">
                  <c:v>122.01784108043854</c:v>
                </c:pt>
                <c:pt idx="236">
                  <c:v>121.6479909371551</c:v>
                </c:pt>
                <c:pt idx="237">
                  <c:v>119.14712278662417</c:v>
                </c:pt>
                <c:pt idx="238">
                  <c:v>118.27726200371953</c:v>
                </c:pt>
                <c:pt idx="239">
                  <c:v>116.75876999669563</c:v>
                </c:pt>
                <c:pt idx="240">
                  <c:v>117.85668938888389</c:v>
                </c:pt>
                <c:pt idx="241">
                  <c:v>118.19379417240582</c:v>
                </c:pt>
                <c:pt idx="242">
                  <c:v>117.09714674006175</c:v>
                </c:pt>
                <c:pt idx="243">
                  <c:v>116.56160710121</c:v>
                </c:pt>
                <c:pt idx="244">
                  <c:v>115.80254998487463</c:v>
                </c:pt>
                <c:pt idx="245">
                  <c:v>115.55491784183909</c:v>
                </c:pt>
                <c:pt idx="246">
                  <c:v>117.8726883016726</c:v>
                </c:pt>
                <c:pt idx="247">
                  <c:v>116.41716032018739</c:v>
                </c:pt>
                <c:pt idx="248">
                  <c:v>117.71943876592438</c:v>
                </c:pt>
                <c:pt idx="249">
                  <c:v>119.92020243193312</c:v>
                </c:pt>
                <c:pt idx="250">
                  <c:v>120.64216744140981</c:v>
                </c:pt>
                <c:pt idx="251">
                  <c:v>121.51035558271521</c:v>
                </c:pt>
                <c:pt idx="252">
                  <c:v>121.58736665918885</c:v>
                </c:pt>
                <c:pt idx="253">
                  <c:v>123.09605740784211</c:v>
                </c:pt>
                <c:pt idx="254">
                  <c:v>122.68322682353069</c:v>
                </c:pt>
                <c:pt idx="255">
                  <c:v>122.99834724884184</c:v>
                </c:pt>
                <c:pt idx="256">
                  <c:v>121.05178171247383</c:v>
                </c:pt>
                <c:pt idx="257">
                  <c:v>121.62118520273108</c:v>
                </c:pt>
                <c:pt idx="258">
                  <c:v>121.4108958607555</c:v>
                </c:pt>
                <c:pt idx="259">
                  <c:v>123.07569809808803</c:v>
                </c:pt>
                <c:pt idx="260">
                  <c:v>123.06169503852794</c:v>
                </c:pt>
                <c:pt idx="261">
                  <c:v>122.24530370397055</c:v>
                </c:pt>
                <c:pt idx="262">
                  <c:v>122.79898881248842</c:v>
                </c:pt>
                <c:pt idx="263">
                  <c:v>123.15359356241301</c:v>
                </c:pt>
                <c:pt idx="264">
                  <c:v>123.45368484376735</c:v>
                </c:pt>
                <c:pt idx="265">
                  <c:v>125.53120676890447</c:v>
                </c:pt>
                <c:pt idx="266">
                  <c:v>124.79486335758769</c:v>
                </c:pt>
                <c:pt idx="267">
                  <c:v>124.94403024193045</c:v>
                </c:pt>
                <c:pt idx="268">
                  <c:v>124.90597717340734</c:v>
                </c:pt>
                <c:pt idx="269">
                  <c:v>124.90124865745322</c:v>
                </c:pt>
                <c:pt idx="270">
                  <c:v>124.8256163574631</c:v>
                </c:pt>
                <c:pt idx="271">
                  <c:v>123.468888098427</c:v>
                </c:pt>
                <c:pt idx="272">
                  <c:v>119.95387346117424</c:v>
                </c:pt>
                <c:pt idx="273">
                  <c:v>119.41146296071952</c:v>
                </c:pt>
                <c:pt idx="274">
                  <c:v>120.36258567644579</c:v>
                </c:pt>
                <c:pt idx="275">
                  <c:v>119.44887909534009</c:v>
                </c:pt>
                <c:pt idx="276">
                  <c:v>120.07605705182995</c:v>
                </c:pt>
                <c:pt idx="277">
                  <c:v>119.54601487964344</c:v>
                </c:pt>
                <c:pt idx="278">
                  <c:v>117.56311569719948</c:v>
                </c:pt>
                <c:pt idx="279">
                  <c:v>117.5041274390494</c:v>
                </c:pt>
                <c:pt idx="280">
                  <c:v>117.529319399255</c:v>
                </c:pt>
                <c:pt idx="281">
                  <c:v>119.44892664818948</c:v>
                </c:pt>
                <c:pt idx="282">
                  <c:v>120.55193574063176</c:v>
                </c:pt>
                <c:pt idx="283">
                  <c:v>120.31114223175064</c:v>
                </c:pt>
                <c:pt idx="284">
                  <c:v>122.07997784221723</c:v>
                </c:pt>
                <c:pt idx="285">
                  <c:v>122.7847083017035</c:v>
                </c:pt>
                <c:pt idx="286">
                  <c:v>122.90928479109166</c:v>
                </c:pt>
                <c:pt idx="287">
                  <c:v>123.74381776797981</c:v>
                </c:pt>
                <c:pt idx="288">
                  <c:v>123.73456249435269</c:v>
                </c:pt>
                <c:pt idx="289">
                  <c:v>123.67453315674229</c:v>
                </c:pt>
                <c:pt idx="290">
                  <c:v>123.8083055814997</c:v>
                </c:pt>
                <c:pt idx="291">
                  <c:v>123.83710610705084</c:v>
                </c:pt>
                <c:pt idx="292">
                  <c:v>124.24039233413264</c:v>
                </c:pt>
                <c:pt idx="293">
                  <c:v>125.25213702471312</c:v>
                </c:pt>
                <c:pt idx="294">
                  <c:v>125.25803557190734</c:v>
                </c:pt>
                <c:pt idx="295">
                  <c:v>124.88742940168224</c:v>
                </c:pt>
                <c:pt idx="296">
                  <c:v>124.36180380588439</c:v>
                </c:pt>
                <c:pt idx="297">
                  <c:v>124.92573012374045</c:v>
                </c:pt>
                <c:pt idx="298">
                  <c:v>121.16230717938727</c:v>
                </c:pt>
                <c:pt idx="299">
                  <c:v>124.43191724971024</c:v>
                </c:pt>
                <c:pt idx="300">
                  <c:v>124.43647633294739</c:v>
                </c:pt>
                <c:pt idx="301">
                  <c:v>124.77648132154751</c:v>
                </c:pt>
                <c:pt idx="302">
                  <c:v>122.82165106767667</c:v>
                </c:pt>
                <c:pt idx="303">
                  <c:v>122.7172854164186</c:v>
                </c:pt>
                <c:pt idx="304">
                  <c:v>122.70236694977561</c:v>
                </c:pt>
                <c:pt idx="305">
                  <c:v>121.62924049907623</c:v>
                </c:pt>
                <c:pt idx="306">
                  <c:v>119.80466283856187</c:v>
                </c:pt>
                <c:pt idx="307">
                  <c:v>119.21975117634038</c:v>
                </c:pt>
                <c:pt idx="308">
                  <c:v>120.98095801821469</c:v>
                </c:pt>
                <c:pt idx="309">
                  <c:v>121.95371475775048</c:v>
                </c:pt>
                <c:pt idx="310">
                  <c:v>122.05525765569523</c:v>
                </c:pt>
                <c:pt idx="311">
                  <c:v>122.55278375956117</c:v>
                </c:pt>
                <c:pt idx="312">
                  <c:v>122.85374119777794</c:v>
                </c:pt>
                <c:pt idx="313">
                  <c:v>121.20573824138646</c:v>
                </c:pt>
                <c:pt idx="314">
                  <c:v>122.94903012176276</c:v>
                </c:pt>
                <c:pt idx="315">
                  <c:v>124.28308773384255</c:v>
                </c:pt>
                <c:pt idx="316">
                  <c:v>124.42679198956019</c:v>
                </c:pt>
                <c:pt idx="317">
                  <c:v>125.96285398164805</c:v>
                </c:pt>
                <c:pt idx="318">
                  <c:v>125.59286933420698</c:v>
                </c:pt>
                <c:pt idx="319">
                  <c:v>126.57871002789068</c:v>
                </c:pt>
                <c:pt idx="320">
                  <c:v>126.61911466687017</c:v>
                </c:pt>
                <c:pt idx="321">
                  <c:v>127.39079275920686</c:v>
                </c:pt>
                <c:pt idx="322">
                  <c:v>128.32811755033003</c:v>
                </c:pt>
                <c:pt idx="323">
                  <c:v>126.55997284252203</c:v>
                </c:pt>
                <c:pt idx="324">
                  <c:v>126.2254709821824</c:v>
                </c:pt>
                <c:pt idx="325">
                  <c:v>126.43112602533154</c:v>
                </c:pt>
                <c:pt idx="326">
                  <c:v>125.37746443903065</c:v>
                </c:pt>
                <c:pt idx="327">
                  <c:v>123.93351340285707</c:v>
                </c:pt>
                <c:pt idx="328">
                  <c:v>124.66868702614647</c:v>
                </c:pt>
                <c:pt idx="329">
                  <c:v>123.08096078003244</c:v>
                </c:pt>
                <c:pt idx="330">
                  <c:v>124.97596906172153</c:v>
                </c:pt>
                <c:pt idx="331">
                  <c:v>125.66557690370946</c:v>
                </c:pt>
                <c:pt idx="332">
                  <c:v>127.41546085934868</c:v>
                </c:pt>
                <c:pt idx="333">
                  <c:v>126.46575180548736</c:v>
                </c:pt>
                <c:pt idx="334">
                  <c:v>127.04255263007501</c:v>
                </c:pt>
                <c:pt idx="335">
                  <c:v>125.40602108485957</c:v>
                </c:pt>
                <c:pt idx="336">
                  <c:v>126.13632561342932</c:v>
                </c:pt>
                <c:pt idx="337">
                  <c:v>127.88670126765363</c:v>
                </c:pt>
                <c:pt idx="338">
                  <c:v>127.65006135788391</c:v>
                </c:pt>
                <c:pt idx="339">
                  <c:v>127.66012098158522</c:v>
                </c:pt>
                <c:pt idx="340">
                  <c:v>127.1074773645221</c:v>
                </c:pt>
                <c:pt idx="341">
                  <c:v>127.12253946473039</c:v>
                </c:pt>
                <c:pt idx="342">
                  <c:v>126.26062788298346</c:v>
                </c:pt>
                <c:pt idx="343">
                  <c:v>126.84178521132762</c:v>
                </c:pt>
                <c:pt idx="344">
                  <c:v>128.78639179187198</c:v>
                </c:pt>
                <c:pt idx="345">
                  <c:v>127.97063011740435</c:v>
                </c:pt>
                <c:pt idx="346">
                  <c:v>129.16760130669871</c:v>
                </c:pt>
                <c:pt idx="347">
                  <c:v>129.35999025803997</c:v>
                </c:pt>
                <c:pt idx="348">
                  <c:v>129.41048210185451</c:v>
                </c:pt>
                <c:pt idx="349">
                  <c:v>127.50335163066677</c:v>
                </c:pt>
                <c:pt idx="350">
                  <c:v>128.08988120003642</c:v>
                </c:pt>
                <c:pt idx="351">
                  <c:v>128.19477633432518</c:v>
                </c:pt>
                <c:pt idx="352">
                  <c:v>128.05129614417734</c:v>
                </c:pt>
                <c:pt idx="353">
                  <c:v>128.98921570893927</c:v>
                </c:pt>
                <c:pt idx="354">
                  <c:v>129.08448156082494</c:v>
                </c:pt>
                <c:pt idx="355">
                  <c:v>129.7699632490453</c:v>
                </c:pt>
                <c:pt idx="356">
                  <c:v>131.26881349663523</c:v>
                </c:pt>
                <c:pt idx="357">
                  <c:v>131.47638169926179</c:v>
                </c:pt>
                <c:pt idx="358">
                  <c:v>131.60363851485852</c:v>
                </c:pt>
                <c:pt idx="359">
                  <c:v>131.56641821082033</c:v>
                </c:pt>
                <c:pt idx="360">
                  <c:v>131.56435449101366</c:v>
                </c:pt>
                <c:pt idx="361">
                  <c:v>131.85015306766448</c:v>
                </c:pt>
                <c:pt idx="362">
                  <c:v>131.57189322869533</c:v>
                </c:pt>
                <c:pt idx="363">
                  <c:v>131.43833536172639</c:v>
                </c:pt>
                <c:pt idx="364">
                  <c:v>132.60767657247536</c:v>
                </c:pt>
                <c:pt idx="365">
                  <c:v>133.71313907028727</c:v>
                </c:pt>
                <c:pt idx="366">
                  <c:v>134.15802928355541</c:v>
                </c:pt>
                <c:pt idx="367">
                  <c:v>134.50461379217953</c:v>
                </c:pt>
                <c:pt idx="368">
                  <c:v>133.5346336872297</c:v>
                </c:pt>
                <c:pt idx="369">
                  <c:v>133.33338598156251</c:v>
                </c:pt>
                <c:pt idx="370">
                  <c:v>133.26951862407273</c:v>
                </c:pt>
                <c:pt idx="371">
                  <c:v>132.39794596611762</c:v>
                </c:pt>
                <c:pt idx="372">
                  <c:v>132.96763649557701</c:v>
                </c:pt>
                <c:pt idx="373">
                  <c:v>133.12258839233925</c:v>
                </c:pt>
                <c:pt idx="374">
                  <c:v>134.58909884258938</c:v>
                </c:pt>
                <c:pt idx="375">
                  <c:v>134.08919251463988</c:v>
                </c:pt>
                <c:pt idx="376">
                  <c:v>133.33572264655822</c:v>
                </c:pt>
                <c:pt idx="377">
                  <c:v>133.42778415077106</c:v>
                </c:pt>
                <c:pt idx="378">
                  <c:v>132.18997918497953</c:v>
                </c:pt>
                <c:pt idx="379">
                  <c:v>131.41242052507837</c:v>
                </c:pt>
                <c:pt idx="380">
                  <c:v>131.1968538627977</c:v>
                </c:pt>
                <c:pt idx="381">
                  <c:v>131.21229406785432</c:v>
                </c:pt>
                <c:pt idx="382">
                  <c:v>132.44802684435351</c:v>
                </c:pt>
                <c:pt idx="383">
                  <c:v>132.18816536300949</c:v>
                </c:pt>
                <c:pt idx="384">
                  <c:v>133.76166036902774</c:v>
                </c:pt>
                <c:pt idx="385">
                  <c:v>132.973510790782</c:v>
                </c:pt>
                <c:pt idx="386">
                  <c:v>131.36342724546142</c:v>
                </c:pt>
                <c:pt idx="387">
                  <c:v>129.46682878166641</c:v>
                </c:pt>
                <c:pt idx="388">
                  <c:v>130.22680311893009</c:v>
                </c:pt>
                <c:pt idx="389">
                  <c:v>128.12102624689965</c:v>
                </c:pt>
                <c:pt idx="390">
                  <c:v>128.3845696053836</c:v>
                </c:pt>
                <c:pt idx="391">
                  <c:v>129.55382583554621</c:v>
                </c:pt>
                <c:pt idx="392">
                  <c:v>128.3647537700478</c:v>
                </c:pt>
                <c:pt idx="393">
                  <c:v>130.37096991679678</c:v>
                </c:pt>
                <c:pt idx="394">
                  <c:v>128.53277571951472</c:v>
                </c:pt>
                <c:pt idx="395">
                  <c:v>128.79213193787385</c:v>
                </c:pt>
                <c:pt idx="396">
                  <c:v>127.68506924090839</c:v>
                </c:pt>
                <c:pt idx="397">
                  <c:v>129.81044221596878</c:v>
                </c:pt>
                <c:pt idx="398">
                  <c:v>129.96767971769629</c:v>
                </c:pt>
                <c:pt idx="399">
                  <c:v>131.06513909766957</c:v>
                </c:pt>
                <c:pt idx="400">
                  <c:v>129.22726075353307</c:v>
                </c:pt>
                <c:pt idx="401">
                  <c:v>129.08439860220568</c:v>
                </c:pt>
                <c:pt idx="402">
                  <c:v>129.85854028791979</c:v>
                </c:pt>
                <c:pt idx="403">
                  <c:v>128.98985471486341</c:v>
                </c:pt>
                <c:pt idx="404">
                  <c:v>126.79685815027661</c:v>
                </c:pt>
                <c:pt idx="405">
                  <c:v>125.04876307493599</c:v>
                </c:pt>
                <c:pt idx="406">
                  <c:v>124.96357715182933</c:v>
                </c:pt>
                <c:pt idx="407">
                  <c:v>125.02858099450775</c:v>
                </c:pt>
                <c:pt idx="408">
                  <c:v>124.17013641640901</c:v>
                </c:pt>
                <c:pt idx="409">
                  <c:v>122.64797937565768</c:v>
                </c:pt>
                <c:pt idx="410">
                  <c:v>122.39937451010229</c:v>
                </c:pt>
                <c:pt idx="411">
                  <c:v>124.05605813222311</c:v>
                </c:pt>
                <c:pt idx="412">
                  <c:v>123.08676019564435</c:v>
                </c:pt>
                <c:pt idx="413">
                  <c:v>124.40034056508262</c:v>
                </c:pt>
                <c:pt idx="414">
                  <c:v>124.48259321085509</c:v>
                </c:pt>
                <c:pt idx="415">
                  <c:v>123.48340900427561</c:v>
                </c:pt>
                <c:pt idx="416">
                  <c:v>125.10086496266364</c:v>
                </c:pt>
                <c:pt idx="417">
                  <c:v>125.81566476927935</c:v>
                </c:pt>
                <c:pt idx="418">
                  <c:v>125.50734142042037</c:v>
                </c:pt>
                <c:pt idx="419">
                  <c:v>127.16964570627481</c:v>
                </c:pt>
                <c:pt idx="420">
                  <c:v>126.11352107313279</c:v>
                </c:pt>
                <c:pt idx="421">
                  <c:v>128.81600801004873</c:v>
                </c:pt>
                <c:pt idx="422">
                  <c:v>130.11425094140131</c:v>
                </c:pt>
                <c:pt idx="423">
                  <c:v>130.00005640583674</c:v>
                </c:pt>
                <c:pt idx="424">
                  <c:v>128.78739519714424</c:v>
                </c:pt>
                <c:pt idx="425">
                  <c:v>129.11438659607862</c:v>
                </c:pt>
                <c:pt idx="426">
                  <c:v>129.21150299793914</c:v>
                </c:pt>
                <c:pt idx="427">
                  <c:v>129.4256285556398</c:v>
                </c:pt>
                <c:pt idx="428">
                  <c:v>130.98770494224058</c:v>
                </c:pt>
                <c:pt idx="429">
                  <c:v>133.36099194707879</c:v>
                </c:pt>
                <c:pt idx="430">
                  <c:v>133.27838823403189</c:v>
                </c:pt>
                <c:pt idx="431">
                  <c:v>132.96425057945049</c:v>
                </c:pt>
                <c:pt idx="432">
                  <c:v>132.07237676009612</c:v>
                </c:pt>
                <c:pt idx="433">
                  <c:v>132.01711093253542</c:v>
                </c:pt>
                <c:pt idx="434">
                  <c:v>131.76043375641399</c:v>
                </c:pt>
                <c:pt idx="435">
                  <c:v>131.65163041270378</c:v>
                </c:pt>
                <c:pt idx="436">
                  <c:v>131.50686841286551</c:v>
                </c:pt>
                <c:pt idx="437">
                  <c:v>131.10208799933889</c:v>
                </c:pt>
                <c:pt idx="438">
                  <c:v>131.74498981456401</c:v>
                </c:pt>
                <c:pt idx="439">
                  <c:v>133.13154241482013</c:v>
                </c:pt>
                <c:pt idx="440">
                  <c:v>133.20193540496697</c:v>
                </c:pt>
                <c:pt idx="441">
                  <c:v>132.6569194095147</c:v>
                </c:pt>
                <c:pt idx="442">
                  <c:v>130.65289540980061</c:v>
                </c:pt>
                <c:pt idx="443">
                  <c:v>132.20488133013691</c:v>
                </c:pt>
                <c:pt idx="444">
                  <c:v>130.50424476536398</c:v>
                </c:pt>
                <c:pt idx="445">
                  <c:v>131.21124903900542</c:v>
                </c:pt>
                <c:pt idx="446">
                  <c:v>129.90872856945779</c:v>
                </c:pt>
                <c:pt idx="447">
                  <c:v>131.49760332664556</c:v>
                </c:pt>
                <c:pt idx="448">
                  <c:v>130.24052567330546</c:v>
                </c:pt>
                <c:pt idx="449">
                  <c:v>126.62204026579909</c:v>
                </c:pt>
                <c:pt idx="450">
                  <c:v>127.71862397296626</c:v>
                </c:pt>
                <c:pt idx="451">
                  <c:v>127.93586466596486</c:v>
                </c:pt>
                <c:pt idx="452">
                  <c:v>125.61982419008667</c:v>
                </c:pt>
                <c:pt idx="453">
                  <c:v>124.43729712798104</c:v>
                </c:pt>
                <c:pt idx="454">
                  <c:v>123.99858077638805</c:v>
                </c:pt>
                <c:pt idx="455">
                  <c:v>121.91063946157496</c:v>
                </c:pt>
                <c:pt idx="456">
                  <c:v>122.24447605924649</c:v>
                </c:pt>
                <c:pt idx="457">
                  <c:v>122.35104278662712</c:v>
                </c:pt>
                <c:pt idx="458">
                  <c:v>117.9302682090531</c:v>
                </c:pt>
                <c:pt idx="459">
                  <c:v>117.19905025602608</c:v>
                </c:pt>
                <c:pt idx="460">
                  <c:v>120.77189815516742</c:v>
                </c:pt>
                <c:pt idx="461">
                  <c:v>119.46442028380251</c:v>
                </c:pt>
                <c:pt idx="462">
                  <c:v>122.08590746069817</c:v>
                </c:pt>
                <c:pt idx="463">
                  <c:v>122.78120031094093</c:v>
                </c:pt>
                <c:pt idx="464">
                  <c:v>124.23972528446593</c:v>
                </c:pt>
                <c:pt idx="465">
                  <c:v>123.67266344852337</c:v>
                </c:pt>
                <c:pt idx="466">
                  <c:v>122.38841114705008</c:v>
                </c:pt>
                <c:pt idx="467">
                  <c:v>123.90839185153933</c:v>
                </c:pt>
                <c:pt idx="468">
                  <c:v>123.34605862362476</c:v>
                </c:pt>
                <c:pt idx="469">
                  <c:v>123.89697489629562</c:v>
                </c:pt>
                <c:pt idx="470">
                  <c:v>127.05541312649854</c:v>
                </c:pt>
                <c:pt idx="471">
                  <c:v>125.79424270718123</c:v>
                </c:pt>
                <c:pt idx="472">
                  <c:v>123.83797862371091</c:v>
                </c:pt>
                <c:pt idx="473">
                  <c:v>126.17358535774142</c:v>
                </c:pt>
                <c:pt idx="474">
                  <c:v>126.63131399749525</c:v>
                </c:pt>
                <c:pt idx="475">
                  <c:v>125.11741103583284</c:v>
                </c:pt>
                <c:pt idx="476">
                  <c:v>126.32582597169407</c:v>
                </c:pt>
                <c:pt idx="477">
                  <c:v>126.75239539166719</c:v>
                </c:pt>
                <c:pt idx="478">
                  <c:v>124.46368532431823</c:v>
                </c:pt>
                <c:pt idx="479">
                  <c:v>124.85101459771013</c:v>
                </c:pt>
                <c:pt idx="480">
                  <c:v>124.98052272766745</c:v>
                </c:pt>
                <c:pt idx="481">
                  <c:v>125.98753694912432</c:v>
                </c:pt>
                <c:pt idx="482">
                  <c:v>127.4402046474619</c:v>
                </c:pt>
                <c:pt idx="483">
                  <c:v>127.63918797626454</c:v>
                </c:pt>
                <c:pt idx="484">
                  <c:v>126.78562513118115</c:v>
                </c:pt>
                <c:pt idx="485">
                  <c:v>130.53712313996718</c:v>
                </c:pt>
                <c:pt idx="486">
                  <c:v>131.24798517077923</c:v>
                </c:pt>
                <c:pt idx="487">
                  <c:v>131.83894915539884</c:v>
                </c:pt>
                <c:pt idx="488">
                  <c:v>131.83051436741087</c:v>
                </c:pt>
                <c:pt idx="489">
                  <c:v>132.59968539983186</c:v>
                </c:pt>
                <c:pt idx="490">
                  <c:v>132.84718881835698</c:v>
                </c:pt>
                <c:pt idx="491">
                  <c:v>132.10472929680242</c:v>
                </c:pt>
                <c:pt idx="492">
                  <c:v>132.38639309365283</c:v>
                </c:pt>
                <c:pt idx="493">
                  <c:v>132.76619176204287</c:v>
                </c:pt>
                <c:pt idx="494">
                  <c:v>130.46149566138047</c:v>
                </c:pt>
                <c:pt idx="495">
                  <c:v>134.008478836769</c:v>
                </c:pt>
                <c:pt idx="496">
                  <c:v>132.80147046599313</c:v>
                </c:pt>
                <c:pt idx="497">
                  <c:v>129.322369398484</c:v>
                </c:pt>
                <c:pt idx="498">
                  <c:v>128.84313244486216</c:v>
                </c:pt>
                <c:pt idx="499">
                  <c:v>129.1657313219543</c:v>
                </c:pt>
                <c:pt idx="500">
                  <c:v>125.40936789605543</c:v>
                </c:pt>
                <c:pt idx="501">
                  <c:v>122.04377626542917</c:v>
                </c:pt>
                <c:pt idx="502">
                  <c:v>124.78792322654876</c:v>
                </c:pt>
                <c:pt idx="503">
                  <c:v>124.87174479662882</c:v>
                </c:pt>
                <c:pt idx="504">
                  <c:v>129.04083607759017</c:v>
                </c:pt>
                <c:pt idx="505">
                  <c:v>128.52512852866857</c:v>
                </c:pt>
                <c:pt idx="506">
                  <c:v>129.15470879279565</c:v>
                </c:pt>
                <c:pt idx="507">
                  <c:v>130.69269180028954</c:v>
                </c:pt>
                <c:pt idx="508">
                  <c:v>130.37294535899071</c:v>
                </c:pt>
                <c:pt idx="509">
                  <c:v>130.38348175742215</c:v>
                </c:pt>
                <c:pt idx="510">
                  <c:v>128.36897823856452</c:v>
                </c:pt>
                <c:pt idx="511">
                  <c:v>128.7960721447383</c:v>
                </c:pt>
                <c:pt idx="512">
                  <c:v>128.50300967112497</c:v>
                </c:pt>
                <c:pt idx="513">
                  <c:v>123.74515813075232</c:v>
                </c:pt>
                <c:pt idx="514">
                  <c:v>123.12200893445772</c:v>
                </c:pt>
                <c:pt idx="515">
                  <c:v>123.89657753560193</c:v>
                </c:pt>
                <c:pt idx="516">
                  <c:v>128.32559713397049</c:v>
                </c:pt>
                <c:pt idx="517">
                  <c:v>124.55221826277523</c:v>
                </c:pt>
                <c:pt idx="518">
                  <c:v>126.24210910350757</c:v>
                </c:pt>
                <c:pt idx="519">
                  <c:v>128.27630142305571</c:v>
                </c:pt>
                <c:pt idx="520">
                  <c:v>126.58155205515222</c:v>
                </c:pt>
                <c:pt idx="521">
                  <c:v>129.00328645151626</c:v>
                </c:pt>
                <c:pt idx="522">
                  <c:v>129.55898323818647</c:v>
                </c:pt>
                <c:pt idx="523">
                  <c:v>130.9729788469422</c:v>
                </c:pt>
                <c:pt idx="524">
                  <c:v>131.7603308007825</c:v>
                </c:pt>
                <c:pt idx="525">
                  <c:v>132.32857321463572</c:v>
                </c:pt>
                <c:pt idx="526">
                  <c:v>134.02827452618965</c:v>
                </c:pt>
                <c:pt idx="527">
                  <c:v>135.90202493794874</c:v>
                </c:pt>
                <c:pt idx="528">
                  <c:v>137.43630890589986</c:v>
                </c:pt>
                <c:pt idx="529">
                  <c:v>136.30210225032371</c:v>
                </c:pt>
                <c:pt idx="530">
                  <c:v>135.92497461809771</c:v>
                </c:pt>
                <c:pt idx="531">
                  <c:v>136.62971919255588</c:v>
                </c:pt>
                <c:pt idx="532">
                  <c:v>135.85949411939956</c:v>
                </c:pt>
                <c:pt idx="533">
                  <c:v>136.62449959919155</c:v>
                </c:pt>
                <c:pt idx="534">
                  <c:v>138.40568839740646</c:v>
                </c:pt>
                <c:pt idx="535">
                  <c:v>138.45403697755734</c:v>
                </c:pt>
                <c:pt idx="536">
                  <c:v>138.21691201940794</c:v>
                </c:pt>
                <c:pt idx="537">
                  <c:v>137.77548117902106</c:v>
                </c:pt>
                <c:pt idx="538">
                  <c:v>135.69195560755827</c:v>
                </c:pt>
                <c:pt idx="539">
                  <c:v>137.12674249447943</c:v>
                </c:pt>
                <c:pt idx="540">
                  <c:v>136.75921362173608</c:v>
                </c:pt>
                <c:pt idx="541">
                  <c:v>138.53247635271961</c:v>
                </c:pt>
                <c:pt idx="542">
                  <c:v>139.75011796321829</c:v>
                </c:pt>
                <c:pt idx="543">
                  <c:v>139.15246563998471</c:v>
                </c:pt>
                <c:pt idx="544">
                  <c:v>139.34365683720671</c:v>
                </c:pt>
                <c:pt idx="545">
                  <c:v>140.46072811522157</c:v>
                </c:pt>
                <c:pt idx="546">
                  <c:v>141.36059267505996</c:v>
                </c:pt>
                <c:pt idx="547">
                  <c:v>141.48596793149571</c:v>
                </c:pt>
                <c:pt idx="548">
                  <c:v>142.68245295511758</c:v>
                </c:pt>
                <c:pt idx="549">
                  <c:v>143.8195310832935</c:v>
                </c:pt>
              </c:numCache>
            </c:numRef>
          </c:val>
          <c:smooth val="0"/>
        </c:ser>
        <c:ser>
          <c:idx val="1"/>
          <c:order val="1"/>
          <c:tx>
            <c:strRef>
              <c:f>Sheet1!$C$1</c:f>
              <c:strCache>
                <c:ptCount val="1"/>
                <c:pt idx="0">
                  <c:v>Monthly</c:v>
                </c:pt>
              </c:strCache>
            </c:strRef>
          </c:tx>
          <c:marker>
            <c:symbol val="none"/>
          </c:marker>
          <c:cat>
            <c:numRef>
              <c:f>Sheet1!$A$2:$A$551</c:f>
              <c:numCache>
                <c:formatCode>[$-409]d\-mmm\-yy;@</c:formatCode>
                <c:ptCount val="550"/>
                <c:pt idx="0">
                  <c:v>41276</c:v>
                </c:pt>
                <c:pt idx="1">
                  <c:v>41277</c:v>
                </c:pt>
                <c:pt idx="2">
                  <c:v>41278</c:v>
                </c:pt>
                <c:pt idx="3">
                  <c:v>41281</c:v>
                </c:pt>
                <c:pt idx="4">
                  <c:v>41282</c:v>
                </c:pt>
                <c:pt idx="5">
                  <c:v>41283</c:v>
                </c:pt>
                <c:pt idx="6">
                  <c:v>41284</c:v>
                </c:pt>
                <c:pt idx="7">
                  <c:v>41285</c:v>
                </c:pt>
                <c:pt idx="8">
                  <c:v>41288</c:v>
                </c:pt>
                <c:pt idx="9">
                  <c:v>41289</c:v>
                </c:pt>
                <c:pt idx="10">
                  <c:v>41290</c:v>
                </c:pt>
                <c:pt idx="11">
                  <c:v>41291</c:v>
                </c:pt>
                <c:pt idx="12">
                  <c:v>41292</c:v>
                </c:pt>
                <c:pt idx="13">
                  <c:v>41295</c:v>
                </c:pt>
                <c:pt idx="14">
                  <c:v>41296</c:v>
                </c:pt>
                <c:pt idx="15">
                  <c:v>41297</c:v>
                </c:pt>
                <c:pt idx="16">
                  <c:v>41298</c:v>
                </c:pt>
                <c:pt idx="17">
                  <c:v>41299</c:v>
                </c:pt>
                <c:pt idx="18">
                  <c:v>41302</c:v>
                </c:pt>
                <c:pt idx="19">
                  <c:v>41303</c:v>
                </c:pt>
                <c:pt idx="20">
                  <c:v>41304</c:v>
                </c:pt>
                <c:pt idx="21">
                  <c:v>41305</c:v>
                </c:pt>
                <c:pt idx="22">
                  <c:v>41306</c:v>
                </c:pt>
                <c:pt idx="23">
                  <c:v>41309</c:v>
                </c:pt>
                <c:pt idx="24">
                  <c:v>41310</c:v>
                </c:pt>
                <c:pt idx="25">
                  <c:v>41311</c:v>
                </c:pt>
                <c:pt idx="26">
                  <c:v>41312</c:v>
                </c:pt>
                <c:pt idx="27">
                  <c:v>41313</c:v>
                </c:pt>
                <c:pt idx="28">
                  <c:v>41316</c:v>
                </c:pt>
                <c:pt idx="29">
                  <c:v>41317</c:v>
                </c:pt>
                <c:pt idx="30">
                  <c:v>41318</c:v>
                </c:pt>
                <c:pt idx="31">
                  <c:v>41319</c:v>
                </c:pt>
                <c:pt idx="32">
                  <c:v>41320</c:v>
                </c:pt>
                <c:pt idx="33">
                  <c:v>41323</c:v>
                </c:pt>
                <c:pt idx="34">
                  <c:v>41324</c:v>
                </c:pt>
                <c:pt idx="35">
                  <c:v>41325</c:v>
                </c:pt>
                <c:pt idx="36">
                  <c:v>41326</c:v>
                </c:pt>
                <c:pt idx="37">
                  <c:v>41327</c:v>
                </c:pt>
                <c:pt idx="38">
                  <c:v>41330</c:v>
                </c:pt>
                <c:pt idx="39">
                  <c:v>41331</c:v>
                </c:pt>
                <c:pt idx="40">
                  <c:v>41332</c:v>
                </c:pt>
                <c:pt idx="41">
                  <c:v>41333</c:v>
                </c:pt>
                <c:pt idx="42">
                  <c:v>41334</c:v>
                </c:pt>
                <c:pt idx="43">
                  <c:v>41337</c:v>
                </c:pt>
                <c:pt idx="44">
                  <c:v>41338</c:v>
                </c:pt>
                <c:pt idx="45">
                  <c:v>41339</c:v>
                </c:pt>
                <c:pt idx="46">
                  <c:v>41340</c:v>
                </c:pt>
                <c:pt idx="47">
                  <c:v>41341</c:v>
                </c:pt>
                <c:pt idx="48">
                  <c:v>41344</c:v>
                </c:pt>
                <c:pt idx="49">
                  <c:v>41345</c:v>
                </c:pt>
                <c:pt idx="50">
                  <c:v>41346</c:v>
                </c:pt>
                <c:pt idx="51">
                  <c:v>41347</c:v>
                </c:pt>
                <c:pt idx="52">
                  <c:v>41348</c:v>
                </c:pt>
                <c:pt idx="53">
                  <c:v>41351</c:v>
                </c:pt>
                <c:pt idx="54">
                  <c:v>41352</c:v>
                </c:pt>
                <c:pt idx="55">
                  <c:v>41353</c:v>
                </c:pt>
                <c:pt idx="56">
                  <c:v>41354</c:v>
                </c:pt>
                <c:pt idx="57">
                  <c:v>41355</c:v>
                </c:pt>
                <c:pt idx="58">
                  <c:v>41358</c:v>
                </c:pt>
                <c:pt idx="59">
                  <c:v>41359</c:v>
                </c:pt>
                <c:pt idx="60">
                  <c:v>41360</c:v>
                </c:pt>
                <c:pt idx="61">
                  <c:v>41361</c:v>
                </c:pt>
                <c:pt idx="62">
                  <c:v>41366</c:v>
                </c:pt>
                <c:pt idx="63">
                  <c:v>41367</c:v>
                </c:pt>
                <c:pt idx="64">
                  <c:v>41368</c:v>
                </c:pt>
                <c:pt idx="65">
                  <c:v>41369</c:v>
                </c:pt>
                <c:pt idx="66">
                  <c:v>41372</c:v>
                </c:pt>
                <c:pt idx="67">
                  <c:v>41373</c:v>
                </c:pt>
                <c:pt idx="68">
                  <c:v>41374</c:v>
                </c:pt>
                <c:pt idx="69">
                  <c:v>41375</c:v>
                </c:pt>
                <c:pt idx="70">
                  <c:v>41376</c:v>
                </c:pt>
                <c:pt idx="71">
                  <c:v>41379</c:v>
                </c:pt>
                <c:pt idx="72">
                  <c:v>41380</c:v>
                </c:pt>
                <c:pt idx="73">
                  <c:v>41381</c:v>
                </c:pt>
                <c:pt idx="74">
                  <c:v>41382</c:v>
                </c:pt>
                <c:pt idx="75">
                  <c:v>41383</c:v>
                </c:pt>
                <c:pt idx="76">
                  <c:v>41386</c:v>
                </c:pt>
                <c:pt idx="77">
                  <c:v>41387</c:v>
                </c:pt>
                <c:pt idx="78">
                  <c:v>41388</c:v>
                </c:pt>
                <c:pt idx="79">
                  <c:v>41389</c:v>
                </c:pt>
                <c:pt idx="80">
                  <c:v>41390</c:v>
                </c:pt>
                <c:pt idx="81">
                  <c:v>41393</c:v>
                </c:pt>
                <c:pt idx="82">
                  <c:v>41394</c:v>
                </c:pt>
                <c:pt idx="83">
                  <c:v>41395</c:v>
                </c:pt>
                <c:pt idx="84">
                  <c:v>41396</c:v>
                </c:pt>
                <c:pt idx="85">
                  <c:v>41397</c:v>
                </c:pt>
                <c:pt idx="86">
                  <c:v>41400</c:v>
                </c:pt>
                <c:pt idx="87">
                  <c:v>41401</c:v>
                </c:pt>
                <c:pt idx="88">
                  <c:v>41402</c:v>
                </c:pt>
                <c:pt idx="89">
                  <c:v>41403</c:v>
                </c:pt>
                <c:pt idx="90">
                  <c:v>41404</c:v>
                </c:pt>
                <c:pt idx="91">
                  <c:v>41407</c:v>
                </c:pt>
                <c:pt idx="92">
                  <c:v>41408</c:v>
                </c:pt>
                <c:pt idx="93">
                  <c:v>41409</c:v>
                </c:pt>
                <c:pt idx="94">
                  <c:v>41410</c:v>
                </c:pt>
                <c:pt idx="95">
                  <c:v>41411</c:v>
                </c:pt>
                <c:pt idx="96">
                  <c:v>41414</c:v>
                </c:pt>
                <c:pt idx="97">
                  <c:v>41415</c:v>
                </c:pt>
                <c:pt idx="98">
                  <c:v>41416</c:v>
                </c:pt>
                <c:pt idx="99">
                  <c:v>41417</c:v>
                </c:pt>
                <c:pt idx="100">
                  <c:v>41418</c:v>
                </c:pt>
                <c:pt idx="101">
                  <c:v>41421</c:v>
                </c:pt>
                <c:pt idx="102">
                  <c:v>41422</c:v>
                </c:pt>
                <c:pt idx="103">
                  <c:v>41423</c:v>
                </c:pt>
                <c:pt idx="104">
                  <c:v>41424</c:v>
                </c:pt>
                <c:pt idx="105">
                  <c:v>41425</c:v>
                </c:pt>
                <c:pt idx="106">
                  <c:v>41428</c:v>
                </c:pt>
                <c:pt idx="107">
                  <c:v>41429</c:v>
                </c:pt>
                <c:pt idx="108">
                  <c:v>41430</c:v>
                </c:pt>
                <c:pt idx="109">
                  <c:v>41431</c:v>
                </c:pt>
                <c:pt idx="110">
                  <c:v>41432</c:v>
                </c:pt>
                <c:pt idx="111">
                  <c:v>41435</c:v>
                </c:pt>
                <c:pt idx="112">
                  <c:v>41436</c:v>
                </c:pt>
                <c:pt idx="113">
                  <c:v>41437</c:v>
                </c:pt>
                <c:pt idx="114">
                  <c:v>41438</c:v>
                </c:pt>
                <c:pt idx="115">
                  <c:v>41439</c:v>
                </c:pt>
                <c:pt idx="116">
                  <c:v>41442</c:v>
                </c:pt>
                <c:pt idx="117">
                  <c:v>41443</c:v>
                </c:pt>
                <c:pt idx="118">
                  <c:v>41444</c:v>
                </c:pt>
                <c:pt idx="119">
                  <c:v>41445</c:v>
                </c:pt>
                <c:pt idx="120">
                  <c:v>41446</c:v>
                </c:pt>
                <c:pt idx="121">
                  <c:v>41449</c:v>
                </c:pt>
                <c:pt idx="122">
                  <c:v>41450</c:v>
                </c:pt>
                <c:pt idx="123">
                  <c:v>41451</c:v>
                </c:pt>
                <c:pt idx="124">
                  <c:v>41452</c:v>
                </c:pt>
                <c:pt idx="125">
                  <c:v>41453</c:v>
                </c:pt>
                <c:pt idx="126">
                  <c:v>41456</c:v>
                </c:pt>
                <c:pt idx="127">
                  <c:v>41457</c:v>
                </c:pt>
                <c:pt idx="128">
                  <c:v>41458</c:v>
                </c:pt>
                <c:pt idx="129">
                  <c:v>41459</c:v>
                </c:pt>
                <c:pt idx="130">
                  <c:v>41460</c:v>
                </c:pt>
                <c:pt idx="131">
                  <c:v>41463</c:v>
                </c:pt>
                <c:pt idx="132">
                  <c:v>41464</c:v>
                </c:pt>
                <c:pt idx="133">
                  <c:v>41465</c:v>
                </c:pt>
                <c:pt idx="134">
                  <c:v>41466</c:v>
                </c:pt>
                <c:pt idx="135">
                  <c:v>41467</c:v>
                </c:pt>
                <c:pt idx="136">
                  <c:v>41470</c:v>
                </c:pt>
                <c:pt idx="137">
                  <c:v>41471</c:v>
                </c:pt>
                <c:pt idx="138">
                  <c:v>41472</c:v>
                </c:pt>
                <c:pt idx="139">
                  <c:v>41473</c:v>
                </c:pt>
                <c:pt idx="140">
                  <c:v>41474</c:v>
                </c:pt>
                <c:pt idx="141">
                  <c:v>41477</c:v>
                </c:pt>
                <c:pt idx="142">
                  <c:v>41478</c:v>
                </c:pt>
                <c:pt idx="143">
                  <c:v>41479</c:v>
                </c:pt>
                <c:pt idx="144">
                  <c:v>41480</c:v>
                </c:pt>
                <c:pt idx="145">
                  <c:v>41481</c:v>
                </c:pt>
                <c:pt idx="146">
                  <c:v>41484</c:v>
                </c:pt>
                <c:pt idx="147">
                  <c:v>41485</c:v>
                </c:pt>
                <c:pt idx="148">
                  <c:v>41486</c:v>
                </c:pt>
                <c:pt idx="149">
                  <c:v>41487</c:v>
                </c:pt>
                <c:pt idx="150">
                  <c:v>41488</c:v>
                </c:pt>
                <c:pt idx="151">
                  <c:v>41491</c:v>
                </c:pt>
                <c:pt idx="152">
                  <c:v>41492</c:v>
                </c:pt>
                <c:pt idx="153">
                  <c:v>41493</c:v>
                </c:pt>
                <c:pt idx="154">
                  <c:v>41494</c:v>
                </c:pt>
                <c:pt idx="155">
                  <c:v>41495</c:v>
                </c:pt>
                <c:pt idx="156">
                  <c:v>41498</c:v>
                </c:pt>
                <c:pt idx="157">
                  <c:v>41499</c:v>
                </c:pt>
                <c:pt idx="158">
                  <c:v>41500</c:v>
                </c:pt>
                <c:pt idx="159">
                  <c:v>41501</c:v>
                </c:pt>
                <c:pt idx="160">
                  <c:v>41502</c:v>
                </c:pt>
                <c:pt idx="161">
                  <c:v>41505</c:v>
                </c:pt>
                <c:pt idx="162">
                  <c:v>41506</c:v>
                </c:pt>
                <c:pt idx="163">
                  <c:v>41507</c:v>
                </c:pt>
                <c:pt idx="164">
                  <c:v>41508</c:v>
                </c:pt>
                <c:pt idx="165">
                  <c:v>41509</c:v>
                </c:pt>
                <c:pt idx="166">
                  <c:v>41512</c:v>
                </c:pt>
                <c:pt idx="167">
                  <c:v>41513</c:v>
                </c:pt>
                <c:pt idx="168">
                  <c:v>41514</c:v>
                </c:pt>
                <c:pt idx="169">
                  <c:v>41515</c:v>
                </c:pt>
                <c:pt idx="170">
                  <c:v>41516</c:v>
                </c:pt>
                <c:pt idx="171">
                  <c:v>41519</c:v>
                </c:pt>
                <c:pt idx="172">
                  <c:v>41520</c:v>
                </c:pt>
                <c:pt idx="173">
                  <c:v>41521</c:v>
                </c:pt>
                <c:pt idx="174">
                  <c:v>41522</c:v>
                </c:pt>
                <c:pt idx="175">
                  <c:v>41523</c:v>
                </c:pt>
                <c:pt idx="176">
                  <c:v>41526</c:v>
                </c:pt>
                <c:pt idx="177">
                  <c:v>41527</c:v>
                </c:pt>
                <c:pt idx="178">
                  <c:v>41528</c:v>
                </c:pt>
                <c:pt idx="179">
                  <c:v>41529</c:v>
                </c:pt>
                <c:pt idx="180">
                  <c:v>41530</c:v>
                </c:pt>
                <c:pt idx="181">
                  <c:v>41533</c:v>
                </c:pt>
                <c:pt idx="182">
                  <c:v>41534</c:v>
                </c:pt>
                <c:pt idx="183">
                  <c:v>41535</c:v>
                </c:pt>
                <c:pt idx="184">
                  <c:v>41536</c:v>
                </c:pt>
                <c:pt idx="185">
                  <c:v>41537</c:v>
                </c:pt>
                <c:pt idx="186">
                  <c:v>41540</c:v>
                </c:pt>
                <c:pt idx="187">
                  <c:v>41541</c:v>
                </c:pt>
                <c:pt idx="188">
                  <c:v>41542</c:v>
                </c:pt>
                <c:pt idx="189">
                  <c:v>41543</c:v>
                </c:pt>
                <c:pt idx="190">
                  <c:v>41544</c:v>
                </c:pt>
                <c:pt idx="191">
                  <c:v>41547</c:v>
                </c:pt>
                <c:pt idx="192">
                  <c:v>41548</c:v>
                </c:pt>
                <c:pt idx="193">
                  <c:v>41549</c:v>
                </c:pt>
                <c:pt idx="194">
                  <c:v>41550</c:v>
                </c:pt>
                <c:pt idx="195">
                  <c:v>41551</c:v>
                </c:pt>
                <c:pt idx="196">
                  <c:v>41554</c:v>
                </c:pt>
                <c:pt idx="197">
                  <c:v>41555</c:v>
                </c:pt>
                <c:pt idx="198">
                  <c:v>41556</c:v>
                </c:pt>
                <c:pt idx="199">
                  <c:v>41557</c:v>
                </c:pt>
                <c:pt idx="200">
                  <c:v>41558</c:v>
                </c:pt>
                <c:pt idx="201">
                  <c:v>41561</c:v>
                </c:pt>
                <c:pt idx="202">
                  <c:v>41562</c:v>
                </c:pt>
                <c:pt idx="203">
                  <c:v>41563</c:v>
                </c:pt>
                <c:pt idx="204">
                  <c:v>41564</c:v>
                </c:pt>
                <c:pt idx="205">
                  <c:v>41565</c:v>
                </c:pt>
                <c:pt idx="206">
                  <c:v>41568</c:v>
                </c:pt>
                <c:pt idx="207">
                  <c:v>41569</c:v>
                </c:pt>
                <c:pt idx="208">
                  <c:v>41570</c:v>
                </c:pt>
                <c:pt idx="209">
                  <c:v>41571</c:v>
                </c:pt>
                <c:pt idx="210">
                  <c:v>41572</c:v>
                </c:pt>
                <c:pt idx="211">
                  <c:v>41575</c:v>
                </c:pt>
                <c:pt idx="212">
                  <c:v>41576</c:v>
                </c:pt>
                <c:pt idx="213">
                  <c:v>41577</c:v>
                </c:pt>
                <c:pt idx="214">
                  <c:v>41578</c:v>
                </c:pt>
                <c:pt idx="215">
                  <c:v>41579</c:v>
                </c:pt>
                <c:pt idx="216">
                  <c:v>41582</c:v>
                </c:pt>
                <c:pt idx="217">
                  <c:v>41583</c:v>
                </c:pt>
                <c:pt idx="218">
                  <c:v>41584</c:v>
                </c:pt>
                <c:pt idx="219">
                  <c:v>41585</c:v>
                </c:pt>
                <c:pt idx="220">
                  <c:v>41586</c:v>
                </c:pt>
                <c:pt idx="221">
                  <c:v>41589</c:v>
                </c:pt>
                <c:pt idx="222">
                  <c:v>41590</c:v>
                </c:pt>
                <c:pt idx="223">
                  <c:v>41591</c:v>
                </c:pt>
                <c:pt idx="224">
                  <c:v>41592</c:v>
                </c:pt>
                <c:pt idx="225">
                  <c:v>41593</c:v>
                </c:pt>
                <c:pt idx="226">
                  <c:v>41596</c:v>
                </c:pt>
                <c:pt idx="227">
                  <c:v>41597</c:v>
                </c:pt>
                <c:pt idx="228">
                  <c:v>41598</c:v>
                </c:pt>
                <c:pt idx="229">
                  <c:v>41599</c:v>
                </c:pt>
                <c:pt idx="230">
                  <c:v>41600</c:v>
                </c:pt>
                <c:pt idx="231">
                  <c:v>41603</c:v>
                </c:pt>
                <c:pt idx="232">
                  <c:v>41604</c:v>
                </c:pt>
                <c:pt idx="233">
                  <c:v>41605</c:v>
                </c:pt>
                <c:pt idx="234">
                  <c:v>41606</c:v>
                </c:pt>
                <c:pt idx="235">
                  <c:v>41607</c:v>
                </c:pt>
                <c:pt idx="236">
                  <c:v>41610</c:v>
                </c:pt>
                <c:pt idx="237">
                  <c:v>41611</c:v>
                </c:pt>
                <c:pt idx="238">
                  <c:v>41612</c:v>
                </c:pt>
                <c:pt idx="239">
                  <c:v>41613</c:v>
                </c:pt>
                <c:pt idx="240">
                  <c:v>41614</c:v>
                </c:pt>
                <c:pt idx="241">
                  <c:v>41617</c:v>
                </c:pt>
                <c:pt idx="242">
                  <c:v>41618</c:v>
                </c:pt>
                <c:pt idx="243">
                  <c:v>41619</c:v>
                </c:pt>
                <c:pt idx="244">
                  <c:v>41620</c:v>
                </c:pt>
                <c:pt idx="245">
                  <c:v>41621</c:v>
                </c:pt>
                <c:pt idx="246">
                  <c:v>41624</c:v>
                </c:pt>
                <c:pt idx="247">
                  <c:v>41625</c:v>
                </c:pt>
                <c:pt idx="248">
                  <c:v>41626</c:v>
                </c:pt>
                <c:pt idx="249">
                  <c:v>41627</c:v>
                </c:pt>
                <c:pt idx="250">
                  <c:v>41628</c:v>
                </c:pt>
                <c:pt idx="251">
                  <c:v>41631</c:v>
                </c:pt>
                <c:pt idx="252">
                  <c:v>41632</c:v>
                </c:pt>
                <c:pt idx="253">
                  <c:v>41635</c:v>
                </c:pt>
                <c:pt idx="254">
                  <c:v>41638</c:v>
                </c:pt>
                <c:pt idx="255">
                  <c:v>41639</c:v>
                </c:pt>
                <c:pt idx="256">
                  <c:v>41641</c:v>
                </c:pt>
                <c:pt idx="257">
                  <c:v>41642</c:v>
                </c:pt>
                <c:pt idx="258">
                  <c:v>41645</c:v>
                </c:pt>
                <c:pt idx="259">
                  <c:v>41646</c:v>
                </c:pt>
                <c:pt idx="260">
                  <c:v>41647</c:v>
                </c:pt>
                <c:pt idx="261">
                  <c:v>41648</c:v>
                </c:pt>
                <c:pt idx="262">
                  <c:v>41649</c:v>
                </c:pt>
                <c:pt idx="263">
                  <c:v>41652</c:v>
                </c:pt>
                <c:pt idx="264">
                  <c:v>41653</c:v>
                </c:pt>
                <c:pt idx="265">
                  <c:v>41654</c:v>
                </c:pt>
                <c:pt idx="266">
                  <c:v>41655</c:v>
                </c:pt>
                <c:pt idx="267">
                  <c:v>41656</c:v>
                </c:pt>
                <c:pt idx="268">
                  <c:v>41659</c:v>
                </c:pt>
                <c:pt idx="269">
                  <c:v>41660</c:v>
                </c:pt>
                <c:pt idx="270">
                  <c:v>41661</c:v>
                </c:pt>
                <c:pt idx="271">
                  <c:v>41662</c:v>
                </c:pt>
                <c:pt idx="272">
                  <c:v>41663</c:v>
                </c:pt>
                <c:pt idx="273">
                  <c:v>41666</c:v>
                </c:pt>
                <c:pt idx="274">
                  <c:v>41667</c:v>
                </c:pt>
                <c:pt idx="275">
                  <c:v>41668</c:v>
                </c:pt>
                <c:pt idx="276">
                  <c:v>41669</c:v>
                </c:pt>
                <c:pt idx="277">
                  <c:v>41670</c:v>
                </c:pt>
                <c:pt idx="278">
                  <c:v>41673</c:v>
                </c:pt>
                <c:pt idx="279">
                  <c:v>41674</c:v>
                </c:pt>
                <c:pt idx="280">
                  <c:v>41675</c:v>
                </c:pt>
                <c:pt idx="281">
                  <c:v>41676</c:v>
                </c:pt>
                <c:pt idx="282">
                  <c:v>41677</c:v>
                </c:pt>
                <c:pt idx="283">
                  <c:v>41680</c:v>
                </c:pt>
                <c:pt idx="284">
                  <c:v>41681</c:v>
                </c:pt>
                <c:pt idx="285">
                  <c:v>41682</c:v>
                </c:pt>
                <c:pt idx="286">
                  <c:v>41683</c:v>
                </c:pt>
                <c:pt idx="287">
                  <c:v>41684</c:v>
                </c:pt>
                <c:pt idx="288">
                  <c:v>41687</c:v>
                </c:pt>
                <c:pt idx="289">
                  <c:v>41688</c:v>
                </c:pt>
                <c:pt idx="290">
                  <c:v>41689</c:v>
                </c:pt>
                <c:pt idx="291">
                  <c:v>41690</c:v>
                </c:pt>
                <c:pt idx="292">
                  <c:v>41691</c:v>
                </c:pt>
                <c:pt idx="293">
                  <c:v>41694</c:v>
                </c:pt>
                <c:pt idx="294">
                  <c:v>41695</c:v>
                </c:pt>
                <c:pt idx="295">
                  <c:v>41696</c:v>
                </c:pt>
                <c:pt idx="296">
                  <c:v>41697</c:v>
                </c:pt>
                <c:pt idx="297">
                  <c:v>41698</c:v>
                </c:pt>
                <c:pt idx="298">
                  <c:v>41701</c:v>
                </c:pt>
                <c:pt idx="299">
                  <c:v>41702</c:v>
                </c:pt>
                <c:pt idx="300">
                  <c:v>41703</c:v>
                </c:pt>
                <c:pt idx="301">
                  <c:v>41704</c:v>
                </c:pt>
                <c:pt idx="302">
                  <c:v>41705</c:v>
                </c:pt>
                <c:pt idx="303">
                  <c:v>41708</c:v>
                </c:pt>
                <c:pt idx="304">
                  <c:v>41709</c:v>
                </c:pt>
                <c:pt idx="305">
                  <c:v>41710</c:v>
                </c:pt>
                <c:pt idx="306">
                  <c:v>41711</c:v>
                </c:pt>
                <c:pt idx="307">
                  <c:v>41712</c:v>
                </c:pt>
                <c:pt idx="308">
                  <c:v>41715</c:v>
                </c:pt>
                <c:pt idx="309">
                  <c:v>41716</c:v>
                </c:pt>
                <c:pt idx="310">
                  <c:v>41717</c:v>
                </c:pt>
                <c:pt idx="311">
                  <c:v>41718</c:v>
                </c:pt>
                <c:pt idx="312">
                  <c:v>41719</c:v>
                </c:pt>
                <c:pt idx="313">
                  <c:v>41722</c:v>
                </c:pt>
                <c:pt idx="314">
                  <c:v>41723</c:v>
                </c:pt>
                <c:pt idx="315">
                  <c:v>41724</c:v>
                </c:pt>
                <c:pt idx="316">
                  <c:v>41725</c:v>
                </c:pt>
                <c:pt idx="317">
                  <c:v>41726</c:v>
                </c:pt>
                <c:pt idx="318">
                  <c:v>41729</c:v>
                </c:pt>
                <c:pt idx="319">
                  <c:v>41730</c:v>
                </c:pt>
                <c:pt idx="320">
                  <c:v>41731</c:v>
                </c:pt>
                <c:pt idx="321">
                  <c:v>41732</c:v>
                </c:pt>
                <c:pt idx="322">
                  <c:v>41733</c:v>
                </c:pt>
                <c:pt idx="323">
                  <c:v>41736</c:v>
                </c:pt>
                <c:pt idx="324">
                  <c:v>41737</c:v>
                </c:pt>
                <c:pt idx="325">
                  <c:v>41738</c:v>
                </c:pt>
                <c:pt idx="326">
                  <c:v>41739</c:v>
                </c:pt>
                <c:pt idx="327">
                  <c:v>41740</c:v>
                </c:pt>
                <c:pt idx="328">
                  <c:v>41743</c:v>
                </c:pt>
                <c:pt idx="329">
                  <c:v>41744</c:v>
                </c:pt>
                <c:pt idx="330">
                  <c:v>41745</c:v>
                </c:pt>
                <c:pt idx="331">
                  <c:v>41746</c:v>
                </c:pt>
                <c:pt idx="332">
                  <c:v>41751</c:v>
                </c:pt>
                <c:pt idx="333">
                  <c:v>41752</c:v>
                </c:pt>
                <c:pt idx="334">
                  <c:v>41753</c:v>
                </c:pt>
                <c:pt idx="335">
                  <c:v>41754</c:v>
                </c:pt>
                <c:pt idx="336">
                  <c:v>41757</c:v>
                </c:pt>
                <c:pt idx="337">
                  <c:v>41758</c:v>
                </c:pt>
                <c:pt idx="338">
                  <c:v>41759</c:v>
                </c:pt>
                <c:pt idx="339">
                  <c:v>41760</c:v>
                </c:pt>
                <c:pt idx="340">
                  <c:v>41761</c:v>
                </c:pt>
                <c:pt idx="341">
                  <c:v>41764</c:v>
                </c:pt>
                <c:pt idx="342">
                  <c:v>41765</c:v>
                </c:pt>
                <c:pt idx="343">
                  <c:v>41766</c:v>
                </c:pt>
                <c:pt idx="344">
                  <c:v>41767</c:v>
                </c:pt>
                <c:pt idx="345">
                  <c:v>41768</c:v>
                </c:pt>
                <c:pt idx="346">
                  <c:v>41771</c:v>
                </c:pt>
                <c:pt idx="347">
                  <c:v>41772</c:v>
                </c:pt>
                <c:pt idx="348">
                  <c:v>41773</c:v>
                </c:pt>
                <c:pt idx="349">
                  <c:v>41774</c:v>
                </c:pt>
                <c:pt idx="350">
                  <c:v>41775</c:v>
                </c:pt>
                <c:pt idx="351">
                  <c:v>41778</c:v>
                </c:pt>
                <c:pt idx="352">
                  <c:v>41779</c:v>
                </c:pt>
                <c:pt idx="353">
                  <c:v>41780</c:v>
                </c:pt>
                <c:pt idx="354">
                  <c:v>41781</c:v>
                </c:pt>
                <c:pt idx="355">
                  <c:v>41782</c:v>
                </c:pt>
                <c:pt idx="356">
                  <c:v>41785</c:v>
                </c:pt>
                <c:pt idx="357">
                  <c:v>41786</c:v>
                </c:pt>
                <c:pt idx="358">
                  <c:v>41787</c:v>
                </c:pt>
                <c:pt idx="359">
                  <c:v>41788</c:v>
                </c:pt>
                <c:pt idx="360">
                  <c:v>41789</c:v>
                </c:pt>
                <c:pt idx="361">
                  <c:v>41792</c:v>
                </c:pt>
                <c:pt idx="362">
                  <c:v>41793</c:v>
                </c:pt>
                <c:pt idx="363">
                  <c:v>41794</c:v>
                </c:pt>
                <c:pt idx="364">
                  <c:v>41795</c:v>
                </c:pt>
                <c:pt idx="365">
                  <c:v>41796</c:v>
                </c:pt>
                <c:pt idx="366">
                  <c:v>41799</c:v>
                </c:pt>
                <c:pt idx="367">
                  <c:v>41800</c:v>
                </c:pt>
                <c:pt idx="368">
                  <c:v>41801</c:v>
                </c:pt>
                <c:pt idx="369">
                  <c:v>41802</c:v>
                </c:pt>
                <c:pt idx="370">
                  <c:v>41803</c:v>
                </c:pt>
                <c:pt idx="371">
                  <c:v>41806</c:v>
                </c:pt>
                <c:pt idx="372">
                  <c:v>41807</c:v>
                </c:pt>
                <c:pt idx="373">
                  <c:v>41808</c:v>
                </c:pt>
                <c:pt idx="374">
                  <c:v>41809</c:v>
                </c:pt>
                <c:pt idx="375">
                  <c:v>41810</c:v>
                </c:pt>
                <c:pt idx="376">
                  <c:v>41813</c:v>
                </c:pt>
                <c:pt idx="377">
                  <c:v>41814</c:v>
                </c:pt>
                <c:pt idx="378">
                  <c:v>41815</c:v>
                </c:pt>
                <c:pt idx="379">
                  <c:v>41816</c:v>
                </c:pt>
                <c:pt idx="380">
                  <c:v>41817</c:v>
                </c:pt>
                <c:pt idx="381">
                  <c:v>41820</c:v>
                </c:pt>
                <c:pt idx="382">
                  <c:v>41821</c:v>
                </c:pt>
                <c:pt idx="383">
                  <c:v>41822</c:v>
                </c:pt>
                <c:pt idx="384">
                  <c:v>41823</c:v>
                </c:pt>
                <c:pt idx="385">
                  <c:v>41824</c:v>
                </c:pt>
                <c:pt idx="386">
                  <c:v>41827</c:v>
                </c:pt>
                <c:pt idx="387">
                  <c:v>41828</c:v>
                </c:pt>
                <c:pt idx="388">
                  <c:v>41829</c:v>
                </c:pt>
                <c:pt idx="389">
                  <c:v>41830</c:v>
                </c:pt>
                <c:pt idx="390">
                  <c:v>41831</c:v>
                </c:pt>
                <c:pt idx="391">
                  <c:v>41834</c:v>
                </c:pt>
                <c:pt idx="392">
                  <c:v>41835</c:v>
                </c:pt>
                <c:pt idx="393">
                  <c:v>41836</c:v>
                </c:pt>
                <c:pt idx="394">
                  <c:v>41837</c:v>
                </c:pt>
                <c:pt idx="395">
                  <c:v>41838</c:v>
                </c:pt>
                <c:pt idx="396">
                  <c:v>41841</c:v>
                </c:pt>
                <c:pt idx="397">
                  <c:v>41842</c:v>
                </c:pt>
                <c:pt idx="398">
                  <c:v>41843</c:v>
                </c:pt>
                <c:pt idx="399">
                  <c:v>41844</c:v>
                </c:pt>
                <c:pt idx="400">
                  <c:v>41845</c:v>
                </c:pt>
                <c:pt idx="401">
                  <c:v>41848</c:v>
                </c:pt>
                <c:pt idx="402">
                  <c:v>41849</c:v>
                </c:pt>
                <c:pt idx="403">
                  <c:v>41850</c:v>
                </c:pt>
                <c:pt idx="404">
                  <c:v>41851</c:v>
                </c:pt>
                <c:pt idx="405">
                  <c:v>41852</c:v>
                </c:pt>
                <c:pt idx="406">
                  <c:v>41855</c:v>
                </c:pt>
                <c:pt idx="407">
                  <c:v>41856</c:v>
                </c:pt>
                <c:pt idx="408">
                  <c:v>41857</c:v>
                </c:pt>
                <c:pt idx="409">
                  <c:v>41858</c:v>
                </c:pt>
                <c:pt idx="410">
                  <c:v>41859</c:v>
                </c:pt>
                <c:pt idx="411">
                  <c:v>41862</c:v>
                </c:pt>
                <c:pt idx="412">
                  <c:v>41863</c:v>
                </c:pt>
                <c:pt idx="413">
                  <c:v>41864</c:v>
                </c:pt>
                <c:pt idx="414">
                  <c:v>41865</c:v>
                </c:pt>
                <c:pt idx="415">
                  <c:v>41866</c:v>
                </c:pt>
                <c:pt idx="416">
                  <c:v>41869</c:v>
                </c:pt>
                <c:pt idx="417">
                  <c:v>41870</c:v>
                </c:pt>
                <c:pt idx="418">
                  <c:v>41871</c:v>
                </c:pt>
                <c:pt idx="419">
                  <c:v>41872</c:v>
                </c:pt>
                <c:pt idx="420">
                  <c:v>41873</c:v>
                </c:pt>
                <c:pt idx="421">
                  <c:v>41876</c:v>
                </c:pt>
                <c:pt idx="422">
                  <c:v>41877</c:v>
                </c:pt>
                <c:pt idx="423">
                  <c:v>41878</c:v>
                </c:pt>
                <c:pt idx="424">
                  <c:v>41879</c:v>
                </c:pt>
                <c:pt idx="425">
                  <c:v>41880</c:v>
                </c:pt>
                <c:pt idx="426">
                  <c:v>41883</c:v>
                </c:pt>
                <c:pt idx="427">
                  <c:v>41884</c:v>
                </c:pt>
                <c:pt idx="428">
                  <c:v>41885</c:v>
                </c:pt>
                <c:pt idx="429">
                  <c:v>41886</c:v>
                </c:pt>
                <c:pt idx="430">
                  <c:v>41887</c:v>
                </c:pt>
                <c:pt idx="431">
                  <c:v>41890</c:v>
                </c:pt>
                <c:pt idx="432">
                  <c:v>41891</c:v>
                </c:pt>
                <c:pt idx="433">
                  <c:v>41892</c:v>
                </c:pt>
                <c:pt idx="434">
                  <c:v>41893</c:v>
                </c:pt>
                <c:pt idx="435">
                  <c:v>41894</c:v>
                </c:pt>
                <c:pt idx="436">
                  <c:v>41897</c:v>
                </c:pt>
                <c:pt idx="437">
                  <c:v>41898</c:v>
                </c:pt>
                <c:pt idx="438">
                  <c:v>41899</c:v>
                </c:pt>
                <c:pt idx="439">
                  <c:v>41900</c:v>
                </c:pt>
                <c:pt idx="440">
                  <c:v>41901</c:v>
                </c:pt>
                <c:pt idx="441">
                  <c:v>41904</c:v>
                </c:pt>
                <c:pt idx="442">
                  <c:v>41905</c:v>
                </c:pt>
                <c:pt idx="443">
                  <c:v>41906</c:v>
                </c:pt>
                <c:pt idx="444">
                  <c:v>41907</c:v>
                </c:pt>
                <c:pt idx="445">
                  <c:v>41908</c:v>
                </c:pt>
                <c:pt idx="446">
                  <c:v>41911</c:v>
                </c:pt>
                <c:pt idx="447">
                  <c:v>41912</c:v>
                </c:pt>
                <c:pt idx="448">
                  <c:v>41913</c:v>
                </c:pt>
                <c:pt idx="449">
                  <c:v>41914</c:v>
                </c:pt>
                <c:pt idx="450">
                  <c:v>41915</c:v>
                </c:pt>
                <c:pt idx="451">
                  <c:v>41918</c:v>
                </c:pt>
                <c:pt idx="452">
                  <c:v>41919</c:v>
                </c:pt>
                <c:pt idx="453">
                  <c:v>41920</c:v>
                </c:pt>
                <c:pt idx="454">
                  <c:v>41921</c:v>
                </c:pt>
                <c:pt idx="455">
                  <c:v>41922</c:v>
                </c:pt>
                <c:pt idx="456">
                  <c:v>41925</c:v>
                </c:pt>
                <c:pt idx="457">
                  <c:v>41926</c:v>
                </c:pt>
                <c:pt idx="458">
                  <c:v>41927</c:v>
                </c:pt>
                <c:pt idx="459">
                  <c:v>41928</c:v>
                </c:pt>
                <c:pt idx="460">
                  <c:v>41929</c:v>
                </c:pt>
                <c:pt idx="461">
                  <c:v>41932</c:v>
                </c:pt>
                <c:pt idx="462">
                  <c:v>41933</c:v>
                </c:pt>
                <c:pt idx="463">
                  <c:v>41934</c:v>
                </c:pt>
                <c:pt idx="464">
                  <c:v>41935</c:v>
                </c:pt>
                <c:pt idx="465">
                  <c:v>41936</c:v>
                </c:pt>
                <c:pt idx="466">
                  <c:v>41939</c:v>
                </c:pt>
                <c:pt idx="467">
                  <c:v>41940</c:v>
                </c:pt>
                <c:pt idx="468">
                  <c:v>41941</c:v>
                </c:pt>
                <c:pt idx="469">
                  <c:v>41942</c:v>
                </c:pt>
                <c:pt idx="470">
                  <c:v>41943</c:v>
                </c:pt>
                <c:pt idx="471">
                  <c:v>41946</c:v>
                </c:pt>
                <c:pt idx="472">
                  <c:v>41947</c:v>
                </c:pt>
                <c:pt idx="473">
                  <c:v>41948</c:v>
                </c:pt>
                <c:pt idx="474">
                  <c:v>41949</c:v>
                </c:pt>
                <c:pt idx="475">
                  <c:v>41950</c:v>
                </c:pt>
                <c:pt idx="476">
                  <c:v>41953</c:v>
                </c:pt>
                <c:pt idx="477">
                  <c:v>41954</c:v>
                </c:pt>
                <c:pt idx="478">
                  <c:v>41955</c:v>
                </c:pt>
                <c:pt idx="479">
                  <c:v>41956</c:v>
                </c:pt>
                <c:pt idx="480">
                  <c:v>41957</c:v>
                </c:pt>
                <c:pt idx="481">
                  <c:v>41960</c:v>
                </c:pt>
                <c:pt idx="482">
                  <c:v>41961</c:v>
                </c:pt>
                <c:pt idx="483">
                  <c:v>41962</c:v>
                </c:pt>
                <c:pt idx="484">
                  <c:v>41963</c:v>
                </c:pt>
                <c:pt idx="485">
                  <c:v>41964</c:v>
                </c:pt>
                <c:pt idx="486">
                  <c:v>41967</c:v>
                </c:pt>
                <c:pt idx="487">
                  <c:v>41968</c:v>
                </c:pt>
                <c:pt idx="488">
                  <c:v>41969</c:v>
                </c:pt>
                <c:pt idx="489">
                  <c:v>41970</c:v>
                </c:pt>
                <c:pt idx="490">
                  <c:v>41971</c:v>
                </c:pt>
                <c:pt idx="491">
                  <c:v>41974</c:v>
                </c:pt>
                <c:pt idx="492">
                  <c:v>41975</c:v>
                </c:pt>
                <c:pt idx="493">
                  <c:v>41976</c:v>
                </c:pt>
                <c:pt idx="494">
                  <c:v>41977</c:v>
                </c:pt>
                <c:pt idx="495">
                  <c:v>41978</c:v>
                </c:pt>
                <c:pt idx="496">
                  <c:v>41981</c:v>
                </c:pt>
                <c:pt idx="497">
                  <c:v>41982</c:v>
                </c:pt>
                <c:pt idx="498">
                  <c:v>41983</c:v>
                </c:pt>
                <c:pt idx="499">
                  <c:v>41984</c:v>
                </c:pt>
                <c:pt idx="500">
                  <c:v>41985</c:v>
                </c:pt>
                <c:pt idx="501">
                  <c:v>41988</c:v>
                </c:pt>
                <c:pt idx="502">
                  <c:v>41989</c:v>
                </c:pt>
                <c:pt idx="503">
                  <c:v>41990</c:v>
                </c:pt>
                <c:pt idx="504">
                  <c:v>41991</c:v>
                </c:pt>
                <c:pt idx="505">
                  <c:v>41992</c:v>
                </c:pt>
                <c:pt idx="506">
                  <c:v>41995</c:v>
                </c:pt>
                <c:pt idx="507">
                  <c:v>41996</c:v>
                </c:pt>
                <c:pt idx="508">
                  <c:v>41997</c:v>
                </c:pt>
                <c:pt idx="509">
                  <c:v>42002</c:v>
                </c:pt>
                <c:pt idx="510">
                  <c:v>42003</c:v>
                </c:pt>
                <c:pt idx="511">
                  <c:v>42004</c:v>
                </c:pt>
                <c:pt idx="512">
                  <c:v>42006</c:v>
                </c:pt>
                <c:pt idx="513">
                  <c:v>42009</c:v>
                </c:pt>
                <c:pt idx="514">
                  <c:v>42010</c:v>
                </c:pt>
                <c:pt idx="515">
                  <c:v>42011</c:v>
                </c:pt>
                <c:pt idx="516">
                  <c:v>42012</c:v>
                </c:pt>
                <c:pt idx="517">
                  <c:v>42013</c:v>
                </c:pt>
                <c:pt idx="518">
                  <c:v>42016</c:v>
                </c:pt>
                <c:pt idx="519">
                  <c:v>42017</c:v>
                </c:pt>
                <c:pt idx="520">
                  <c:v>42018</c:v>
                </c:pt>
                <c:pt idx="521">
                  <c:v>42019</c:v>
                </c:pt>
                <c:pt idx="522">
                  <c:v>42020</c:v>
                </c:pt>
                <c:pt idx="523">
                  <c:v>42023</c:v>
                </c:pt>
                <c:pt idx="524">
                  <c:v>42024</c:v>
                </c:pt>
                <c:pt idx="525">
                  <c:v>42025</c:v>
                </c:pt>
                <c:pt idx="526">
                  <c:v>42026</c:v>
                </c:pt>
                <c:pt idx="527">
                  <c:v>42027</c:v>
                </c:pt>
                <c:pt idx="528">
                  <c:v>42030</c:v>
                </c:pt>
                <c:pt idx="529">
                  <c:v>42031</c:v>
                </c:pt>
                <c:pt idx="530">
                  <c:v>42032</c:v>
                </c:pt>
                <c:pt idx="531">
                  <c:v>42033</c:v>
                </c:pt>
                <c:pt idx="532">
                  <c:v>42034</c:v>
                </c:pt>
                <c:pt idx="533">
                  <c:v>42037</c:v>
                </c:pt>
                <c:pt idx="534">
                  <c:v>42038</c:v>
                </c:pt>
                <c:pt idx="535">
                  <c:v>42039</c:v>
                </c:pt>
                <c:pt idx="536">
                  <c:v>42040</c:v>
                </c:pt>
                <c:pt idx="537">
                  <c:v>42041</c:v>
                </c:pt>
                <c:pt idx="538">
                  <c:v>42044</c:v>
                </c:pt>
                <c:pt idx="539">
                  <c:v>42045</c:v>
                </c:pt>
                <c:pt idx="540">
                  <c:v>42046</c:v>
                </c:pt>
                <c:pt idx="541">
                  <c:v>42047</c:v>
                </c:pt>
                <c:pt idx="542">
                  <c:v>42048</c:v>
                </c:pt>
                <c:pt idx="543">
                  <c:v>42051</c:v>
                </c:pt>
                <c:pt idx="544">
                  <c:v>42052</c:v>
                </c:pt>
                <c:pt idx="545">
                  <c:v>42053</c:v>
                </c:pt>
                <c:pt idx="546">
                  <c:v>42054</c:v>
                </c:pt>
                <c:pt idx="547">
                  <c:v>42055</c:v>
                </c:pt>
                <c:pt idx="548">
                  <c:v>42058</c:v>
                </c:pt>
                <c:pt idx="549">
                  <c:v>42059</c:v>
                </c:pt>
              </c:numCache>
            </c:numRef>
          </c:cat>
          <c:val>
            <c:numRef>
              <c:f>Sheet1!$C$2:$C$551</c:f>
              <c:numCache>
                <c:formatCode>General</c:formatCode>
                <c:ptCount val="550"/>
                <c:pt idx="0">
                  <c:v>102.85932974147801</c:v>
                </c:pt>
                <c:pt idx="1">
                  <c:v>102.51184064194818</c:v>
                </c:pt>
                <c:pt idx="2">
                  <c:v>102.81292919389115</c:v>
                </c:pt>
                <c:pt idx="3">
                  <c:v>102.28551164130755</c:v>
                </c:pt>
                <c:pt idx="4">
                  <c:v>102.12804205918988</c:v>
                </c:pt>
                <c:pt idx="5">
                  <c:v>102.69463180665043</c:v>
                </c:pt>
                <c:pt idx="6">
                  <c:v>102.80969796251082</c:v>
                </c:pt>
                <c:pt idx="7">
                  <c:v>103.18242187920991</c:v>
                </c:pt>
                <c:pt idx="8">
                  <c:v>103.1059526032432</c:v>
                </c:pt>
                <c:pt idx="9">
                  <c:v>102.70571593309619</c:v>
                </c:pt>
                <c:pt idx="10">
                  <c:v>102.73960076010663</c:v>
                </c:pt>
                <c:pt idx="11">
                  <c:v>103.40331035744134</c:v>
                </c:pt>
                <c:pt idx="12">
                  <c:v>103.0315546409749</c:v>
                </c:pt>
                <c:pt idx="13">
                  <c:v>103.68979578996206</c:v>
                </c:pt>
                <c:pt idx="14">
                  <c:v>103.28635220059581</c:v>
                </c:pt>
                <c:pt idx="15">
                  <c:v>102.95357348963208</c:v>
                </c:pt>
                <c:pt idx="16">
                  <c:v>103.72011527878348</c:v>
                </c:pt>
                <c:pt idx="17">
                  <c:v>104.55125086698888</c:v>
                </c:pt>
                <c:pt idx="18">
                  <c:v>104.5802953352418</c:v>
                </c:pt>
                <c:pt idx="19">
                  <c:v>104.74578250979876</c:v>
                </c:pt>
                <c:pt idx="20">
                  <c:v>104.0545056668138</c:v>
                </c:pt>
                <c:pt idx="21">
                  <c:v>102.91496187180323</c:v>
                </c:pt>
                <c:pt idx="22">
                  <c:v>103.18235030632546</c:v>
                </c:pt>
                <c:pt idx="23">
                  <c:v>99.960880575639848</c:v>
                </c:pt>
                <c:pt idx="24">
                  <c:v>100.94769736981766</c:v>
                </c:pt>
                <c:pt idx="25">
                  <c:v>99.682453154080477</c:v>
                </c:pt>
                <c:pt idx="26">
                  <c:v>98.957990597125558</c:v>
                </c:pt>
                <c:pt idx="27">
                  <c:v>100.18289803080027</c:v>
                </c:pt>
                <c:pt idx="28">
                  <c:v>99.888931916592611</c:v>
                </c:pt>
                <c:pt idx="29">
                  <c:v>100.87460334633045</c:v>
                </c:pt>
                <c:pt idx="30">
                  <c:v>101.17737823626716</c:v>
                </c:pt>
                <c:pt idx="31">
                  <c:v>100.36818033416826</c:v>
                </c:pt>
                <c:pt idx="32">
                  <c:v>99.597286279887967</c:v>
                </c:pt>
                <c:pt idx="33">
                  <c:v>99.651432006174801</c:v>
                </c:pt>
                <c:pt idx="34">
                  <c:v>101.38673942635418</c:v>
                </c:pt>
                <c:pt idx="35">
                  <c:v>100.54839305882139</c:v>
                </c:pt>
                <c:pt idx="36">
                  <c:v>98.264799455835686</c:v>
                </c:pt>
                <c:pt idx="37">
                  <c:v>100.17144691745683</c:v>
                </c:pt>
                <c:pt idx="38">
                  <c:v>100.99423164620455</c:v>
                </c:pt>
                <c:pt idx="39">
                  <c:v>97.95668474830569</c:v>
                </c:pt>
                <c:pt idx="40">
                  <c:v>99.50623107092153</c:v>
                </c:pt>
                <c:pt idx="41">
                  <c:v>100.31489517217172</c:v>
                </c:pt>
                <c:pt idx="42">
                  <c:v>99.673041912568905</c:v>
                </c:pt>
                <c:pt idx="43">
                  <c:v>99.786340635067944</c:v>
                </c:pt>
                <c:pt idx="44">
                  <c:v>102.21188302502064</c:v>
                </c:pt>
                <c:pt idx="45">
                  <c:v>102.11468077098229</c:v>
                </c:pt>
                <c:pt idx="46">
                  <c:v>102.54546644565463</c:v>
                </c:pt>
                <c:pt idx="47">
                  <c:v>104.01132501973134</c:v>
                </c:pt>
                <c:pt idx="48">
                  <c:v>103.6193548967393</c:v>
                </c:pt>
                <c:pt idx="49">
                  <c:v>103.34776738988147</c:v>
                </c:pt>
                <c:pt idx="50">
                  <c:v>103.07372098830349</c:v>
                </c:pt>
                <c:pt idx="51">
                  <c:v>104.60870334989723</c:v>
                </c:pt>
                <c:pt idx="52">
                  <c:v>103.86390620334747</c:v>
                </c:pt>
                <c:pt idx="53">
                  <c:v>103.16448415237628</c:v>
                </c:pt>
                <c:pt idx="54">
                  <c:v>101.87084002966644</c:v>
                </c:pt>
                <c:pt idx="55">
                  <c:v>103.28802274577296</c:v>
                </c:pt>
                <c:pt idx="56">
                  <c:v>102.33362793355856</c:v>
                </c:pt>
                <c:pt idx="57">
                  <c:v>102.24437253928969</c:v>
                </c:pt>
                <c:pt idx="58">
                  <c:v>101.00866072680496</c:v>
                </c:pt>
                <c:pt idx="59">
                  <c:v>100.69468746661184</c:v>
                </c:pt>
                <c:pt idx="60">
                  <c:v>99.60150324153571</c:v>
                </c:pt>
                <c:pt idx="61">
                  <c:v>100.04612517862755</c:v>
                </c:pt>
                <c:pt idx="62">
                  <c:v>102.17117320122067</c:v>
                </c:pt>
                <c:pt idx="63">
                  <c:v>100.60920547042733</c:v>
                </c:pt>
                <c:pt idx="64">
                  <c:v>99.934655688969258</c:v>
                </c:pt>
                <c:pt idx="65">
                  <c:v>98.55781030201868</c:v>
                </c:pt>
                <c:pt idx="66">
                  <c:v>98.747692307479511</c:v>
                </c:pt>
                <c:pt idx="67">
                  <c:v>98.97275900163848</c:v>
                </c:pt>
                <c:pt idx="68">
                  <c:v>101.51425785753634</c:v>
                </c:pt>
                <c:pt idx="69">
                  <c:v>102.14023814923081</c:v>
                </c:pt>
                <c:pt idx="70">
                  <c:v>100.66711381767443</c:v>
                </c:pt>
                <c:pt idx="71">
                  <c:v>100.3313468680179</c:v>
                </c:pt>
                <c:pt idx="72">
                  <c:v>99.74297103982596</c:v>
                </c:pt>
                <c:pt idx="73">
                  <c:v>97.610772744331896</c:v>
                </c:pt>
                <c:pt idx="74">
                  <c:v>97.683730750312975</c:v>
                </c:pt>
                <c:pt idx="75">
                  <c:v>98.496212054796842</c:v>
                </c:pt>
                <c:pt idx="76">
                  <c:v>98.849585911782569</c:v>
                </c:pt>
                <c:pt idx="77">
                  <c:v>101.93854098918219</c:v>
                </c:pt>
                <c:pt idx="78">
                  <c:v>103.4674171804387</c:v>
                </c:pt>
                <c:pt idx="79">
                  <c:v>103.62333957431792</c:v>
                </c:pt>
                <c:pt idx="80">
                  <c:v>102.99358213337715</c:v>
                </c:pt>
                <c:pt idx="81">
                  <c:v>104.56435018601525</c:v>
                </c:pt>
                <c:pt idx="82">
                  <c:v>104.34799776740628</c:v>
                </c:pt>
                <c:pt idx="83">
                  <c:v>104.33941711454689</c:v>
                </c:pt>
                <c:pt idx="84">
                  <c:v>104.77041052865677</c:v>
                </c:pt>
                <c:pt idx="85">
                  <c:v>106.55185127470475</c:v>
                </c:pt>
                <c:pt idx="86">
                  <c:v>106.18532891129715</c:v>
                </c:pt>
                <c:pt idx="87">
                  <c:v>106.99093512834934</c:v>
                </c:pt>
                <c:pt idx="88">
                  <c:v>107.75790666026954</c:v>
                </c:pt>
                <c:pt idx="89">
                  <c:v>107.61839657397114</c:v>
                </c:pt>
                <c:pt idx="90">
                  <c:v>108.13315558510088</c:v>
                </c:pt>
                <c:pt idx="91">
                  <c:v>107.82492382820952</c:v>
                </c:pt>
                <c:pt idx="92">
                  <c:v>108.6235563778712</c:v>
                </c:pt>
                <c:pt idx="93">
                  <c:v>109.23422288917308</c:v>
                </c:pt>
                <c:pt idx="94">
                  <c:v>109.14826621864184</c:v>
                </c:pt>
                <c:pt idx="95">
                  <c:v>109.76690166079774</c:v>
                </c:pt>
                <c:pt idx="96">
                  <c:v>110.20488739642138</c:v>
                </c:pt>
                <c:pt idx="97">
                  <c:v>110.21815056410496</c:v>
                </c:pt>
                <c:pt idx="98">
                  <c:v>110.80869356267395</c:v>
                </c:pt>
                <c:pt idx="99">
                  <c:v>108.43556868905937</c:v>
                </c:pt>
                <c:pt idx="100">
                  <c:v>107.95614038473545</c:v>
                </c:pt>
                <c:pt idx="101">
                  <c:v>109.18413444325539</c:v>
                </c:pt>
                <c:pt idx="102">
                  <c:v>110.85513364329258</c:v>
                </c:pt>
                <c:pt idx="103">
                  <c:v>108.8727919288381</c:v>
                </c:pt>
                <c:pt idx="104">
                  <c:v>109.38154077088089</c:v>
                </c:pt>
                <c:pt idx="105">
                  <c:v>108.22534875451586</c:v>
                </c:pt>
                <c:pt idx="106">
                  <c:v>107.36529518070648</c:v>
                </c:pt>
                <c:pt idx="107">
                  <c:v>107.67793065480504</c:v>
                </c:pt>
                <c:pt idx="108">
                  <c:v>105.93163952346345</c:v>
                </c:pt>
                <c:pt idx="109">
                  <c:v>104.67219770591876</c:v>
                </c:pt>
                <c:pt idx="110">
                  <c:v>106.52581360567692</c:v>
                </c:pt>
                <c:pt idx="111">
                  <c:v>106.33519292571964</c:v>
                </c:pt>
                <c:pt idx="112">
                  <c:v>104.94757491374828</c:v>
                </c:pt>
                <c:pt idx="113">
                  <c:v>104.34708528079202</c:v>
                </c:pt>
                <c:pt idx="114">
                  <c:v>104.15875724268776</c:v>
                </c:pt>
                <c:pt idx="115">
                  <c:v>104.37349174123025</c:v>
                </c:pt>
                <c:pt idx="116">
                  <c:v>105.72837044813514</c:v>
                </c:pt>
                <c:pt idx="117">
                  <c:v>105.6617324264292</c:v>
                </c:pt>
                <c:pt idx="118">
                  <c:v>105.0058138162115</c:v>
                </c:pt>
                <c:pt idx="119">
                  <c:v>101.28018650504038</c:v>
                </c:pt>
                <c:pt idx="120">
                  <c:v>99.84331600918739</c:v>
                </c:pt>
                <c:pt idx="121">
                  <c:v>98.56552709911486</c:v>
                </c:pt>
                <c:pt idx="122">
                  <c:v>99.747596522631923</c:v>
                </c:pt>
                <c:pt idx="123">
                  <c:v>102.06403568032343</c:v>
                </c:pt>
                <c:pt idx="124">
                  <c:v>102.6838586757445</c:v>
                </c:pt>
                <c:pt idx="125">
                  <c:v>102.03419463438766</c:v>
                </c:pt>
                <c:pt idx="126">
                  <c:v>102.82256215716271</c:v>
                </c:pt>
                <c:pt idx="127">
                  <c:v>102.05616475650857</c:v>
                </c:pt>
                <c:pt idx="128">
                  <c:v>100.83464346123006</c:v>
                </c:pt>
                <c:pt idx="129">
                  <c:v>103.8137874082224</c:v>
                </c:pt>
                <c:pt idx="130">
                  <c:v>101.82453743011352</c:v>
                </c:pt>
                <c:pt idx="131">
                  <c:v>103.99272353419231</c:v>
                </c:pt>
                <c:pt idx="132">
                  <c:v>104.52292765165159</c:v>
                </c:pt>
                <c:pt idx="133">
                  <c:v>104.38241920392935</c:v>
                </c:pt>
                <c:pt idx="134">
                  <c:v>105.22931991713065</c:v>
                </c:pt>
                <c:pt idx="135">
                  <c:v>104.96790536432248</c:v>
                </c:pt>
                <c:pt idx="136">
                  <c:v>105.54627728854177</c:v>
                </c:pt>
                <c:pt idx="137">
                  <c:v>104.70753991123796</c:v>
                </c:pt>
                <c:pt idx="138">
                  <c:v>105.34569604987007</c:v>
                </c:pt>
                <c:pt idx="139">
                  <c:v>106.77829704749735</c:v>
                </c:pt>
                <c:pt idx="140">
                  <c:v>106.69249573713873</c:v>
                </c:pt>
                <c:pt idx="141">
                  <c:v>107.05060949154819</c:v>
                </c:pt>
                <c:pt idx="142">
                  <c:v>106.9650400327664</c:v>
                </c:pt>
                <c:pt idx="143">
                  <c:v>108.13171780101878</c:v>
                </c:pt>
                <c:pt idx="144">
                  <c:v>107.64635837336212</c:v>
                </c:pt>
                <c:pt idx="145">
                  <c:v>107.69968174533915</c:v>
                </c:pt>
                <c:pt idx="146">
                  <c:v>107.69335724112834</c:v>
                </c:pt>
                <c:pt idx="147">
                  <c:v>108.37549949196301</c:v>
                </c:pt>
                <c:pt idx="148">
                  <c:v>108.72704433705734</c:v>
                </c:pt>
                <c:pt idx="149">
                  <c:v>110.32512534451453</c:v>
                </c:pt>
                <c:pt idx="150">
                  <c:v>110.40855042686901</c:v>
                </c:pt>
                <c:pt idx="151">
                  <c:v>110.33855785437979</c:v>
                </c:pt>
                <c:pt idx="152">
                  <c:v>109.61238692377955</c:v>
                </c:pt>
                <c:pt idx="153">
                  <c:v>109.78083685995314</c:v>
                </c:pt>
                <c:pt idx="154">
                  <c:v>110.66301897888162</c:v>
                </c:pt>
                <c:pt idx="155">
                  <c:v>111.00854072164854</c:v>
                </c:pt>
                <c:pt idx="156">
                  <c:v>111.06866794396193</c:v>
                </c:pt>
                <c:pt idx="157">
                  <c:v>111.64597880671</c:v>
                </c:pt>
                <c:pt idx="158">
                  <c:v>112.06380499782578</c:v>
                </c:pt>
                <c:pt idx="159">
                  <c:v>111.42092366997962</c:v>
                </c:pt>
                <c:pt idx="160">
                  <c:v>112.13085805050915</c:v>
                </c:pt>
                <c:pt idx="161">
                  <c:v>110.91678273683712</c:v>
                </c:pt>
                <c:pt idx="162">
                  <c:v>109.5250177580688</c:v>
                </c:pt>
                <c:pt idx="163">
                  <c:v>108.99842406661708</c:v>
                </c:pt>
                <c:pt idx="164">
                  <c:v>110.48493127749053</c:v>
                </c:pt>
                <c:pt idx="165">
                  <c:v>111.01752477513168</c:v>
                </c:pt>
                <c:pt idx="166">
                  <c:v>110.84121596450893</c:v>
                </c:pt>
                <c:pt idx="167">
                  <c:v>108.00480250618082</c:v>
                </c:pt>
                <c:pt idx="168">
                  <c:v>107.75363249377752</c:v>
                </c:pt>
                <c:pt idx="169">
                  <c:v>108.36509786923148</c:v>
                </c:pt>
                <c:pt idx="170">
                  <c:v>106.91995036546884</c:v>
                </c:pt>
                <c:pt idx="171">
                  <c:v>108.99340262130191</c:v>
                </c:pt>
                <c:pt idx="172">
                  <c:v>108.17829795210426</c:v>
                </c:pt>
                <c:pt idx="173">
                  <c:v>108.37416134018991</c:v>
                </c:pt>
                <c:pt idx="174">
                  <c:v>109.00830629284182</c:v>
                </c:pt>
                <c:pt idx="175">
                  <c:v>110.15763150010605</c:v>
                </c:pt>
                <c:pt idx="176">
                  <c:v>109.95203298021762</c:v>
                </c:pt>
                <c:pt idx="177">
                  <c:v>112.07146747076155</c:v>
                </c:pt>
                <c:pt idx="178">
                  <c:v>112.53804182260924</c:v>
                </c:pt>
                <c:pt idx="179">
                  <c:v>112.46664756188703</c:v>
                </c:pt>
                <c:pt idx="180">
                  <c:v>112.67641117020359</c:v>
                </c:pt>
                <c:pt idx="181">
                  <c:v>113.75457635261019</c:v>
                </c:pt>
                <c:pt idx="182">
                  <c:v>113.62221618671128</c:v>
                </c:pt>
                <c:pt idx="183">
                  <c:v>114.31681754888309</c:v>
                </c:pt>
                <c:pt idx="184">
                  <c:v>115.37750799713298</c:v>
                </c:pt>
                <c:pt idx="185">
                  <c:v>115.01059335034599</c:v>
                </c:pt>
                <c:pt idx="186">
                  <c:v>114.27030503214843</c:v>
                </c:pt>
                <c:pt idx="187">
                  <c:v>115.00571290481226</c:v>
                </c:pt>
                <c:pt idx="188">
                  <c:v>115.18516803684429</c:v>
                </c:pt>
                <c:pt idx="189">
                  <c:v>115.00139683100544</c:v>
                </c:pt>
                <c:pt idx="190">
                  <c:v>114.83786942242776</c:v>
                </c:pt>
                <c:pt idx="191">
                  <c:v>113.83602415144551</c:v>
                </c:pt>
                <c:pt idx="192">
                  <c:v>115.40517829520449</c:v>
                </c:pt>
                <c:pt idx="193">
                  <c:v>114.82554203606861</c:v>
                </c:pt>
                <c:pt idx="194">
                  <c:v>114.19022554332207</c:v>
                </c:pt>
                <c:pt idx="195">
                  <c:v>115.22480444137548</c:v>
                </c:pt>
                <c:pt idx="196">
                  <c:v>115.01346452377493</c:v>
                </c:pt>
                <c:pt idx="197">
                  <c:v>114.23830192612159</c:v>
                </c:pt>
                <c:pt idx="198">
                  <c:v>114.28776440383966</c:v>
                </c:pt>
                <c:pt idx="199">
                  <c:v>116.85291509194393</c:v>
                </c:pt>
                <c:pt idx="200">
                  <c:v>117.04928302757163</c:v>
                </c:pt>
                <c:pt idx="201">
                  <c:v>117.1803861380386</c:v>
                </c:pt>
                <c:pt idx="202">
                  <c:v>118.25303445508281</c:v>
                </c:pt>
                <c:pt idx="203">
                  <c:v>118.79187038888685</c:v>
                </c:pt>
                <c:pt idx="204">
                  <c:v>118.58389645291483</c:v>
                </c:pt>
                <c:pt idx="205">
                  <c:v>119.49766905502119</c:v>
                </c:pt>
                <c:pt idx="206">
                  <c:v>119.30723801915963</c:v>
                </c:pt>
                <c:pt idx="207">
                  <c:v>119.98291415268673</c:v>
                </c:pt>
                <c:pt idx="208">
                  <c:v>118.83103996799309</c:v>
                </c:pt>
                <c:pt idx="209">
                  <c:v>119.70218699648238</c:v>
                </c:pt>
                <c:pt idx="210">
                  <c:v>119.53483162194827</c:v>
                </c:pt>
                <c:pt idx="211">
                  <c:v>119.04671759079486</c:v>
                </c:pt>
                <c:pt idx="212">
                  <c:v>120.19314629506781</c:v>
                </c:pt>
                <c:pt idx="213">
                  <c:v>119.7851421288602</c:v>
                </c:pt>
                <c:pt idx="214">
                  <c:v>120.84583683577009</c:v>
                </c:pt>
                <c:pt idx="215">
                  <c:v>120.22279142876336</c:v>
                </c:pt>
                <c:pt idx="216">
                  <c:v>120.58796129021852</c:v>
                </c:pt>
                <c:pt idx="217">
                  <c:v>119.5991261680398</c:v>
                </c:pt>
                <c:pt idx="218">
                  <c:v>120.51882378158889</c:v>
                </c:pt>
                <c:pt idx="219">
                  <c:v>119.98882589824747</c:v>
                </c:pt>
                <c:pt idx="220">
                  <c:v>119.66705379789728</c:v>
                </c:pt>
                <c:pt idx="221">
                  <c:v>120.38877733587347</c:v>
                </c:pt>
                <c:pt idx="222">
                  <c:v>119.67405331661899</c:v>
                </c:pt>
                <c:pt idx="223">
                  <c:v>119.16995963404607</c:v>
                </c:pt>
                <c:pt idx="224">
                  <c:v>120.44819563065003</c:v>
                </c:pt>
                <c:pt idx="225">
                  <c:v>120.56404590646754</c:v>
                </c:pt>
                <c:pt idx="226">
                  <c:v>121.62244775831263</c:v>
                </c:pt>
                <c:pt idx="227">
                  <c:v>120.353363249024</c:v>
                </c:pt>
                <c:pt idx="228">
                  <c:v>120.27720374968227</c:v>
                </c:pt>
                <c:pt idx="229">
                  <c:v>120.15694927529756</c:v>
                </c:pt>
                <c:pt idx="230">
                  <c:v>120.61892392175028</c:v>
                </c:pt>
                <c:pt idx="231">
                  <c:v>121.28153418060434</c:v>
                </c:pt>
                <c:pt idx="232">
                  <c:v>120.87790878268443</c:v>
                </c:pt>
                <c:pt idx="233">
                  <c:v>121.67042121888743</c:v>
                </c:pt>
                <c:pt idx="234">
                  <c:v>122.07383374705461</c:v>
                </c:pt>
                <c:pt idx="235">
                  <c:v>121.84263982218046</c:v>
                </c:pt>
                <c:pt idx="236">
                  <c:v>121.47332073410908</c:v>
                </c:pt>
                <c:pt idx="237">
                  <c:v>118.97622388407247</c:v>
                </c:pt>
                <c:pt idx="238">
                  <c:v>118.11175865786569</c:v>
                </c:pt>
                <c:pt idx="239">
                  <c:v>116.59932690878425</c:v>
                </c:pt>
                <c:pt idx="240">
                  <c:v>117.70676854384089</c:v>
                </c:pt>
                <c:pt idx="241">
                  <c:v>118.04594805999007</c:v>
                </c:pt>
                <c:pt idx="242">
                  <c:v>116.95595320137357</c:v>
                </c:pt>
                <c:pt idx="243">
                  <c:v>116.42345041672282</c:v>
                </c:pt>
                <c:pt idx="244">
                  <c:v>115.65584820911418</c:v>
                </c:pt>
                <c:pt idx="245">
                  <c:v>115.41029454054616</c:v>
                </c:pt>
                <c:pt idx="246">
                  <c:v>117.73723891570069</c:v>
                </c:pt>
                <c:pt idx="247">
                  <c:v>116.28835031639098</c:v>
                </c:pt>
                <c:pt idx="248">
                  <c:v>117.58311996327464</c:v>
                </c:pt>
                <c:pt idx="249">
                  <c:v>119.75938575358805</c:v>
                </c:pt>
                <c:pt idx="250">
                  <c:v>120.48270679692821</c:v>
                </c:pt>
                <c:pt idx="251">
                  <c:v>121.3501135870362</c:v>
                </c:pt>
                <c:pt idx="252">
                  <c:v>121.42602136654186</c:v>
                </c:pt>
                <c:pt idx="253">
                  <c:v>122.93381636738647</c:v>
                </c:pt>
                <c:pt idx="254">
                  <c:v>122.5219620377154</c:v>
                </c:pt>
                <c:pt idx="255">
                  <c:v>122.83673973002855</c:v>
                </c:pt>
                <c:pt idx="256">
                  <c:v>120.89273164095241</c:v>
                </c:pt>
                <c:pt idx="257">
                  <c:v>121.46064843581847</c:v>
                </c:pt>
                <c:pt idx="258">
                  <c:v>121.24930494471332</c:v>
                </c:pt>
                <c:pt idx="259">
                  <c:v>122.90890335400231</c:v>
                </c:pt>
                <c:pt idx="260">
                  <c:v>122.89402548651908</c:v>
                </c:pt>
                <c:pt idx="261">
                  <c:v>122.07763081236247</c:v>
                </c:pt>
                <c:pt idx="262">
                  <c:v>122.63034727746603</c:v>
                </c:pt>
                <c:pt idx="263">
                  <c:v>122.98377040875181</c:v>
                </c:pt>
                <c:pt idx="264">
                  <c:v>123.28383944776446</c:v>
                </c:pt>
                <c:pt idx="265">
                  <c:v>125.36207845795835</c:v>
                </c:pt>
                <c:pt idx="266">
                  <c:v>124.61614725925673</c:v>
                </c:pt>
                <c:pt idx="267">
                  <c:v>124.76518971431354</c:v>
                </c:pt>
                <c:pt idx="268">
                  <c:v>124.72858130156037</c:v>
                </c:pt>
                <c:pt idx="269">
                  <c:v>124.72562139942916</c:v>
                </c:pt>
                <c:pt idx="270">
                  <c:v>124.65056286331976</c:v>
                </c:pt>
                <c:pt idx="271">
                  <c:v>123.28806124436935</c:v>
                </c:pt>
                <c:pt idx="272">
                  <c:v>119.77165119737651</c:v>
                </c:pt>
                <c:pt idx="273">
                  <c:v>119.2249981138427</c:v>
                </c:pt>
                <c:pt idx="274">
                  <c:v>120.16838302700101</c:v>
                </c:pt>
                <c:pt idx="275">
                  <c:v>119.26684709903184</c:v>
                </c:pt>
                <c:pt idx="276">
                  <c:v>119.8871946353802</c:v>
                </c:pt>
                <c:pt idx="277">
                  <c:v>119.36509120508096</c:v>
                </c:pt>
                <c:pt idx="278">
                  <c:v>117.38519301654901</c:v>
                </c:pt>
                <c:pt idx="279">
                  <c:v>117.32348521250833</c:v>
                </c:pt>
                <c:pt idx="280">
                  <c:v>117.34790992823261</c:v>
                </c:pt>
                <c:pt idx="281">
                  <c:v>119.26356886136331</c:v>
                </c:pt>
                <c:pt idx="282">
                  <c:v>120.36491775716054</c:v>
                </c:pt>
                <c:pt idx="283">
                  <c:v>120.12492379955135</c:v>
                </c:pt>
                <c:pt idx="284">
                  <c:v>121.89098120348996</c:v>
                </c:pt>
                <c:pt idx="285">
                  <c:v>122.59686259826435</c:v>
                </c:pt>
                <c:pt idx="286">
                  <c:v>122.71478278484057</c:v>
                </c:pt>
                <c:pt idx="287">
                  <c:v>123.54809382521606</c:v>
                </c:pt>
                <c:pt idx="288">
                  <c:v>123.53716629170248</c:v>
                </c:pt>
                <c:pt idx="289">
                  <c:v>123.47698886065295</c:v>
                </c:pt>
                <c:pt idx="290">
                  <c:v>123.60853911159353</c:v>
                </c:pt>
                <c:pt idx="291">
                  <c:v>123.63564691859455</c:v>
                </c:pt>
                <c:pt idx="292">
                  <c:v>124.03909015298906</c:v>
                </c:pt>
                <c:pt idx="293">
                  <c:v>125.0512610126775</c:v>
                </c:pt>
                <c:pt idx="294">
                  <c:v>125.0501648578667</c:v>
                </c:pt>
                <c:pt idx="295">
                  <c:v>124.67691788808435</c:v>
                </c:pt>
                <c:pt idx="296">
                  <c:v>124.14294506894346</c:v>
                </c:pt>
                <c:pt idx="297">
                  <c:v>124.70492708141438</c:v>
                </c:pt>
                <c:pt idx="298">
                  <c:v>120.94815596824236</c:v>
                </c:pt>
                <c:pt idx="299">
                  <c:v>124.19404015306961</c:v>
                </c:pt>
                <c:pt idx="300">
                  <c:v>124.19848495227939</c:v>
                </c:pt>
                <c:pt idx="301">
                  <c:v>124.537374495395</c:v>
                </c:pt>
                <c:pt idx="302">
                  <c:v>122.58568723479364</c:v>
                </c:pt>
                <c:pt idx="303">
                  <c:v>122.48133071597648</c:v>
                </c:pt>
                <c:pt idx="304">
                  <c:v>122.46757321728596</c:v>
                </c:pt>
                <c:pt idx="305">
                  <c:v>121.39955046452178</c:v>
                </c:pt>
                <c:pt idx="306">
                  <c:v>119.58020600101268</c:v>
                </c:pt>
                <c:pt idx="307">
                  <c:v>119.00631702368555</c:v>
                </c:pt>
                <c:pt idx="308">
                  <c:v>120.75299461396799</c:v>
                </c:pt>
                <c:pt idx="309">
                  <c:v>121.72017388826042</c:v>
                </c:pt>
                <c:pt idx="310">
                  <c:v>121.82055921340593</c:v>
                </c:pt>
                <c:pt idx="311">
                  <c:v>122.31540108558112</c:v>
                </c:pt>
                <c:pt idx="312">
                  <c:v>122.61508677375308</c:v>
                </c:pt>
                <c:pt idx="313">
                  <c:v>120.96872756527728</c:v>
                </c:pt>
                <c:pt idx="314">
                  <c:v>122.70273053533802</c:v>
                </c:pt>
                <c:pt idx="315">
                  <c:v>124.0348230706404</c:v>
                </c:pt>
                <c:pt idx="316">
                  <c:v>124.1786881973286</c:v>
                </c:pt>
                <c:pt idx="317">
                  <c:v>125.71166710324462</c:v>
                </c:pt>
                <c:pt idx="318">
                  <c:v>125.33978698307567</c:v>
                </c:pt>
                <c:pt idx="319">
                  <c:v>126.32364110792054</c:v>
                </c:pt>
                <c:pt idx="320">
                  <c:v>126.36515452981159</c:v>
                </c:pt>
                <c:pt idx="321">
                  <c:v>127.13852547572908</c:v>
                </c:pt>
                <c:pt idx="322">
                  <c:v>128.07490933186548</c:v>
                </c:pt>
                <c:pt idx="323">
                  <c:v>126.30195928661587</c:v>
                </c:pt>
                <c:pt idx="324">
                  <c:v>125.96762238482397</c:v>
                </c:pt>
                <c:pt idx="325">
                  <c:v>126.17114529927356</c:v>
                </c:pt>
                <c:pt idx="326">
                  <c:v>125.1197491075001</c:v>
                </c:pt>
                <c:pt idx="327">
                  <c:v>123.67891108269826</c:v>
                </c:pt>
                <c:pt idx="328">
                  <c:v>124.41527939798274</c:v>
                </c:pt>
                <c:pt idx="329">
                  <c:v>122.82965805323744</c:v>
                </c:pt>
                <c:pt idx="330">
                  <c:v>124.71716299916859</c:v>
                </c:pt>
                <c:pt idx="331">
                  <c:v>125.40458487150836</c:v>
                </c:pt>
                <c:pt idx="332">
                  <c:v>127.15149320728489</c:v>
                </c:pt>
                <c:pt idx="333">
                  <c:v>126.1998650773577</c:v>
                </c:pt>
                <c:pt idx="334">
                  <c:v>126.77521332327476</c:v>
                </c:pt>
                <c:pt idx="335">
                  <c:v>125.14151263586746</c:v>
                </c:pt>
                <c:pt idx="336">
                  <c:v>125.87034561517846</c:v>
                </c:pt>
                <c:pt idx="337">
                  <c:v>127.61829247913994</c:v>
                </c:pt>
                <c:pt idx="338">
                  <c:v>127.3820320352058</c:v>
                </c:pt>
                <c:pt idx="339">
                  <c:v>127.39207052218373</c:v>
                </c:pt>
                <c:pt idx="340">
                  <c:v>126.8406088255057</c:v>
                </c:pt>
                <c:pt idx="341">
                  <c:v>126.85617321341687</c:v>
                </c:pt>
                <c:pt idx="342">
                  <c:v>125.99693297558123</c:v>
                </c:pt>
                <c:pt idx="343">
                  <c:v>126.57389812123927</c:v>
                </c:pt>
                <c:pt idx="344">
                  <c:v>128.51572597656514</c:v>
                </c:pt>
                <c:pt idx="345">
                  <c:v>127.70273733879733</c:v>
                </c:pt>
                <c:pt idx="346">
                  <c:v>128.89745550641874</c:v>
                </c:pt>
                <c:pt idx="347">
                  <c:v>129.08741810768259</c:v>
                </c:pt>
                <c:pt idx="348">
                  <c:v>129.13846785424283</c:v>
                </c:pt>
                <c:pt idx="349">
                  <c:v>127.235913086821</c:v>
                </c:pt>
                <c:pt idx="350">
                  <c:v>127.82107232714542</c:v>
                </c:pt>
                <c:pt idx="351">
                  <c:v>127.92647221200306</c:v>
                </c:pt>
                <c:pt idx="352">
                  <c:v>127.78228734339339</c:v>
                </c:pt>
                <c:pt idx="353">
                  <c:v>128.71854611631349</c:v>
                </c:pt>
                <c:pt idx="354">
                  <c:v>128.81230161892518</c:v>
                </c:pt>
                <c:pt idx="355">
                  <c:v>129.49604333468181</c:v>
                </c:pt>
                <c:pt idx="356">
                  <c:v>130.99111004112106</c:v>
                </c:pt>
                <c:pt idx="357">
                  <c:v>131.20282849565351</c:v>
                </c:pt>
                <c:pt idx="358">
                  <c:v>131.32663805798822</c:v>
                </c:pt>
                <c:pt idx="359">
                  <c:v>131.28701209704232</c:v>
                </c:pt>
                <c:pt idx="360">
                  <c:v>131.28311948788084</c:v>
                </c:pt>
                <c:pt idx="361">
                  <c:v>131.56830710393251</c:v>
                </c:pt>
                <c:pt idx="362">
                  <c:v>131.29076532771475</c:v>
                </c:pt>
                <c:pt idx="363">
                  <c:v>131.15726273453657</c:v>
                </c:pt>
                <c:pt idx="364">
                  <c:v>132.32419726861323</c:v>
                </c:pt>
                <c:pt idx="365">
                  <c:v>133.42749021598476</c:v>
                </c:pt>
                <c:pt idx="366">
                  <c:v>133.87302493152762</c:v>
                </c:pt>
                <c:pt idx="367">
                  <c:v>134.21569728129893</c:v>
                </c:pt>
                <c:pt idx="368">
                  <c:v>133.24516879606529</c:v>
                </c:pt>
                <c:pt idx="369">
                  <c:v>133.04503923791739</c:v>
                </c:pt>
                <c:pt idx="370">
                  <c:v>132.98171006552596</c:v>
                </c:pt>
                <c:pt idx="371">
                  <c:v>132.11185547001159</c:v>
                </c:pt>
                <c:pt idx="372">
                  <c:v>132.68089256953846</c:v>
                </c:pt>
                <c:pt idx="373">
                  <c:v>132.83463471950603</c:v>
                </c:pt>
                <c:pt idx="374">
                  <c:v>134.29520482438045</c:v>
                </c:pt>
                <c:pt idx="375">
                  <c:v>133.79991883292385</c:v>
                </c:pt>
                <c:pt idx="376">
                  <c:v>133.0467528593403</c:v>
                </c:pt>
                <c:pt idx="377">
                  <c:v>133.13953655930376</c:v>
                </c:pt>
                <c:pt idx="378">
                  <c:v>131.90298406193824</c:v>
                </c:pt>
                <c:pt idx="379">
                  <c:v>131.12696849326537</c:v>
                </c:pt>
                <c:pt idx="380">
                  <c:v>130.9121116964314</c:v>
                </c:pt>
                <c:pt idx="381">
                  <c:v>130.92818575810477</c:v>
                </c:pt>
                <c:pt idx="382">
                  <c:v>132.16124283943603</c:v>
                </c:pt>
                <c:pt idx="383">
                  <c:v>131.90224517490341</c:v>
                </c:pt>
                <c:pt idx="384">
                  <c:v>133.47367629295221</c:v>
                </c:pt>
                <c:pt idx="385">
                  <c:v>132.68745732753254</c:v>
                </c:pt>
                <c:pt idx="386">
                  <c:v>131.08036002811926</c:v>
                </c:pt>
                <c:pt idx="387">
                  <c:v>129.18778384184114</c:v>
                </c:pt>
                <c:pt idx="388">
                  <c:v>129.9454664296714</c:v>
                </c:pt>
                <c:pt idx="389">
                  <c:v>127.84516268772865</c:v>
                </c:pt>
                <c:pt idx="390">
                  <c:v>128.10840511010778</c:v>
                </c:pt>
                <c:pt idx="391">
                  <c:v>129.27326997829948</c:v>
                </c:pt>
                <c:pt idx="392">
                  <c:v>128.08655389788871</c:v>
                </c:pt>
                <c:pt idx="393">
                  <c:v>130.08733122007717</c:v>
                </c:pt>
                <c:pt idx="394">
                  <c:v>128.25354124911149</c:v>
                </c:pt>
                <c:pt idx="395">
                  <c:v>128.51166094451102</c:v>
                </c:pt>
                <c:pt idx="396">
                  <c:v>127.40793094429014</c:v>
                </c:pt>
                <c:pt idx="397">
                  <c:v>129.52728644314669</c:v>
                </c:pt>
                <c:pt idx="398">
                  <c:v>129.68427460863245</c:v>
                </c:pt>
                <c:pt idx="399">
                  <c:v>130.77894801899751</c:v>
                </c:pt>
                <c:pt idx="400">
                  <c:v>128.94504967712527</c:v>
                </c:pt>
                <c:pt idx="401">
                  <c:v>128.80301835351284</c:v>
                </c:pt>
                <c:pt idx="402">
                  <c:v>129.57315887688165</c:v>
                </c:pt>
                <c:pt idx="403">
                  <c:v>128.70542929082106</c:v>
                </c:pt>
                <c:pt idx="404">
                  <c:v>126.51799881223096</c:v>
                </c:pt>
                <c:pt idx="405">
                  <c:v>124.77374826364193</c:v>
                </c:pt>
                <c:pt idx="406">
                  <c:v>124.6876926991882</c:v>
                </c:pt>
                <c:pt idx="407">
                  <c:v>124.75186230947062</c:v>
                </c:pt>
                <c:pt idx="408">
                  <c:v>123.8981410202815</c:v>
                </c:pt>
                <c:pt idx="409">
                  <c:v>122.38068995454481</c:v>
                </c:pt>
                <c:pt idx="410">
                  <c:v>122.13494230207355</c:v>
                </c:pt>
                <c:pt idx="411">
                  <c:v>123.78909397981329</c:v>
                </c:pt>
                <c:pt idx="412">
                  <c:v>122.82132884646362</c:v>
                </c:pt>
                <c:pt idx="413">
                  <c:v>124.13245707819847</c:v>
                </c:pt>
                <c:pt idx="414">
                  <c:v>124.21943985366384</c:v>
                </c:pt>
                <c:pt idx="415">
                  <c:v>123.2252273155942</c:v>
                </c:pt>
                <c:pt idx="416">
                  <c:v>124.83590148184523</c:v>
                </c:pt>
                <c:pt idx="417">
                  <c:v>125.5497949306543</c:v>
                </c:pt>
                <c:pt idx="418">
                  <c:v>125.2418100942714</c:v>
                </c:pt>
                <c:pt idx="419">
                  <c:v>126.90030296722368</c:v>
                </c:pt>
                <c:pt idx="420">
                  <c:v>125.84658488730685</c:v>
                </c:pt>
                <c:pt idx="421">
                  <c:v>128.54643111284165</c:v>
                </c:pt>
                <c:pt idx="422">
                  <c:v>129.84297846446239</c:v>
                </c:pt>
                <c:pt idx="423">
                  <c:v>129.72568553400333</c:v>
                </c:pt>
                <c:pt idx="424">
                  <c:v>128.51303325676017</c:v>
                </c:pt>
                <c:pt idx="425">
                  <c:v>128.83987062043053</c:v>
                </c:pt>
                <c:pt idx="426">
                  <c:v>128.93678049476389</c:v>
                </c:pt>
                <c:pt idx="427">
                  <c:v>129.15037178423472</c:v>
                </c:pt>
                <c:pt idx="428">
                  <c:v>130.70928185158343</c:v>
                </c:pt>
                <c:pt idx="429">
                  <c:v>133.07594867044983</c:v>
                </c:pt>
                <c:pt idx="430">
                  <c:v>132.9920593181661</c:v>
                </c:pt>
                <c:pt idx="431">
                  <c:v>132.67960422710593</c:v>
                </c:pt>
                <c:pt idx="432">
                  <c:v>131.79100361607738</c:v>
                </c:pt>
                <c:pt idx="433">
                  <c:v>131.7467180110406</c:v>
                </c:pt>
                <c:pt idx="434">
                  <c:v>131.48684488889182</c:v>
                </c:pt>
                <c:pt idx="435">
                  <c:v>131.37867533652738</c:v>
                </c:pt>
                <c:pt idx="436">
                  <c:v>131.23561949191165</c:v>
                </c:pt>
                <c:pt idx="437">
                  <c:v>130.82861864645722</c:v>
                </c:pt>
                <c:pt idx="438">
                  <c:v>131.47413744177504</c:v>
                </c:pt>
                <c:pt idx="439">
                  <c:v>132.8461858128548</c:v>
                </c:pt>
                <c:pt idx="440">
                  <c:v>132.91719749557501</c:v>
                </c:pt>
                <c:pt idx="441">
                  <c:v>132.37452709644811</c:v>
                </c:pt>
                <c:pt idx="442">
                  <c:v>130.3734333408363</c:v>
                </c:pt>
                <c:pt idx="443">
                  <c:v>131.92310236681638</c:v>
                </c:pt>
                <c:pt idx="444">
                  <c:v>130.22398902376807</c:v>
                </c:pt>
                <c:pt idx="445">
                  <c:v>130.92965519482226</c:v>
                </c:pt>
                <c:pt idx="446">
                  <c:v>129.62840747211368</c:v>
                </c:pt>
                <c:pt idx="447">
                  <c:v>131.21442999779887</c:v>
                </c:pt>
                <c:pt idx="448">
                  <c:v>129.96005940013958</c:v>
                </c:pt>
                <c:pt idx="449">
                  <c:v>126.34813810251491</c:v>
                </c:pt>
                <c:pt idx="450">
                  <c:v>127.43504662472198</c:v>
                </c:pt>
                <c:pt idx="451">
                  <c:v>127.64351109762953</c:v>
                </c:pt>
                <c:pt idx="452">
                  <c:v>125.33171302957169</c:v>
                </c:pt>
                <c:pt idx="453">
                  <c:v>124.15169250902021</c:v>
                </c:pt>
                <c:pt idx="454">
                  <c:v>123.72942080859292</c:v>
                </c:pt>
                <c:pt idx="455">
                  <c:v>121.64722554141245</c:v>
                </c:pt>
                <c:pt idx="456">
                  <c:v>121.9952797370331</c:v>
                </c:pt>
                <c:pt idx="457">
                  <c:v>122.10378252004386</c:v>
                </c:pt>
                <c:pt idx="458">
                  <c:v>117.69423376612819</c:v>
                </c:pt>
                <c:pt idx="459">
                  <c:v>116.96962459169346</c:v>
                </c:pt>
                <c:pt idx="460">
                  <c:v>120.52665981646476</c:v>
                </c:pt>
                <c:pt idx="461">
                  <c:v>119.23194297690883</c:v>
                </c:pt>
                <c:pt idx="462">
                  <c:v>121.84698883811613</c:v>
                </c:pt>
                <c:pt idx="463">
                  <c:v>122.54138906846282</c:v>
                </c:pt>
                <c:pt idx="464">
                  <c:v>123.99454119496933</c:v>
                </c:pt>
                <c:pt idx="465">
                  <c:v>123.43133819426856</c:v>
                </c:pt>
                <c:pt idx="466">
                  <c:v>122.1537947714163</c:v>
                </c:pt>
                <c:pt idx="467">
                  <c:v>123.66571713715648</c:v>
                </c:pt>
                <c:pt idx="468">
                  <c:v>123.10588820377755</c:v>
                </c:pt>
                <c:pt idx="469">
                  <c:v>123.65814050977615</c:v>
                </c:pt>
                <c:pt idx="470">
                  <c:v>126.80859020599165</c:v>
                </c:pt>
                <c:pt idx="471">
                  <c:v>125.54986978781994</c:v>
                </c:pt>
                <c:pt idx="472">
                  <c:v>123.59822656322797</c:v>
                </c:pt>
                <c:pt idx="473">
                  <c:v>125.93229949192335</c:v>
                </c:pt>
                <c:pt idx="474">
                  <c:v>126.38877677456324</c:v>
                </c:pt>
                <c:pt idx="475">
                  <c:v>124.87829070942598</c:v>
                </c:pt>
                <c:pt idx="476">
                  <c:v>126.08587833615728</c:v>
                </c:pt>
                <c:pt idx="477">
                  <c:v>126.51115779391348</c:v>
                </c:pt>
                <c:pt idx="478">
                  <c:v>124.22738455254051</c:v>
                </c:pt>
                <c:pt idx="479">
                  <c:v>124.61392376203524</c:v>
                </c:pt>
                <c:pt idx="480">
                  <c:v>124.74455481081081</c:v>
                </c:pt>
                <c:pt idx="481">
                  <c:v>125.74967471352782</c:v>
                </c:pt>
                <c:pt idx="482">
                  <c:v>127.19972146795548</c:v>
                </c:pt>
                <c:pt idx="483">
                  <c:v>127.39823531997511</c:v>
                </c:pt>
                <c:pt idx="484">
                  <c:v>126.54616394428646</c:v>
                </c:pt>
                <c:pt idx="485">
                  <c:v>130.28991266406246</c:v>
                </c:pt>
                <c:pt idx="486">
                  <c:v>131.00092321912919</c:v>
                </c:pt>
                <c:pt idx="487">
                  <c:v>131.59210770544601</c:v>
                </c:pt>
                <c:pt idx="488">
                  <c:v>131.58070609465139</c:v>
                </c:pt>
                <c:pt idx="489">
                  <c:v>132.34685776420815</c:v>
                </c:pt>
                <c:pt idx="490">
                  <c:v>132.59070793163787</c:v>
                </c:pt>
                <c:pt idx="491">
                  <c:v>131.84968187184074</c:v>
                </c:pt>
                <c:pt idx="492">
                  <c:v>132.13000249842742</c:v>
                </c:pt>
                <c:pt idx="493">
                  <c:v>132.50915372118413</c:v>
                </c:pt>
                <c:pt idx="494">
                  <c:v>130.20879054936611</c:v>
                </c:pt>
                <c:pt idx="495">
                  <c:v>133.74917621485392</c:v>
                </c:pt>
                <c:pt idx="496">
                  <c:v>132.54448289325074</c:v>
                </c:pt>
                <c:pt idx="497">
                  <c:v>129.07207341202206</c:v>
                </c:pt>
                <c:pt idx="498">
                  <c:v>128.59070999976848</c:v>
                </c:pt>
                <c:pt idx="499">
                  <c:v>128.91791610980198</c:v>
                </c:pt>
                <c:pt idx="500">
                  <c:v>125.16957581604397</c:v>
                </c:pt>
                <c:pt idx="501">
                  <c:v>121.80992803136968</c:v>
                </c:pt>
                <c:pt idx="502">
                  <c:v>124.5496019857446</c:v>
                </c:pt>
                <c:pt idx="503">
                  <c:v>124.63368978792558</c:v>
                </c:pt>
                <c:pt idx="504">
                  <c:v>128.77315790454182</c:v>
                </c:pt>
                <c:pt idx="505">
                  <c:v>128.26129570335542</c:v>
                </c:pt>
                <c:pt idx="506">
                  <c:v>128.89087669114727</c:v>
                </c:pt>
                <c:pt idx="507">
                  <c:v>130.42731304737384</c:v>
                </c:pt>
                <c:pt idx="508">
                  <c:v>130.10795082749976</c:v>
                </c:pt>
                <c:pt idx="509">
                  <c:v>130.11724136274029</c:v>
                </c:pt>
                <c:pt idx="510">
                  <c:v>128.10749505382663</c:v>
                </c:pt>
                <c:pt idx="511">
                  <c:v>128.53429730026124</c:v>
                </c:pt>
                <c:pt idx="512">
                  <c:v>128.24183046320968</c:v>
                </c:pt>
                <c:pt idx="513">
                  <c:v>123.49380047274281</c:v>
                </c:pt>
                <c:pt idx="514">
                  <c:v>122.87307779382614</c:v>
                </c:pt>
                <c:pt idx="515">
                  <c:v>123.64696849482509</c:v>
                </c:pt>
                <c:pt idx="516">
                  <c:v>128.0662421185018</c:v>
                </c:pt>
                <c:pt idx="517">
                  <c:v>124.30066091714784</c:v>
                </c:pt>
                <c:pt idx="518">
                  <c:v>125.98677515507535</c:v>
                </c:pt>
                <c:pt idx="519">
                  <c:v>128.01684041627709</c:v>
                </c:pt>
                <c:pt idx="520">
                  <c:v>126.32553316603253</c:v>
                </c:pt>
                <c:pt idx="521">
                  <c:v>129.03075377841242</c:v>
                </c:pt>
                <c:pt idx="522">
                  <c:v>130.51472228971883</c:v>
                </c:pt>
                <c:pt idx="523">
                  <c:v>131.2678661695868</c:v>
                </c:pt>
                <c:pt idx="524">
                  <c:v>132.08705301365057</c:v>
                </c:pt>
                <c:pt idx="525">
                  <c:v>132.89166657815966</c:v>
                </c:pt>
                <c:pt idx="526">
                  <c:v>134.6546662143252</c:v>
                </c:pt>
                <c:pt idx="527">
                  <c:v>136.61495370082577</c:v>
                </c:pt>
                <c:pt idx="528">
                  <c:v>137.84138187493434</c:v>
                </c:pt>
                <c:pt idx="529">
                  <c:v>136.53922381933427</c:v>
                </c:pt>
                <c:pt idx="530">
                  <c:v>136.18593889282329</c:v>
                </c:pt>
                <c:pt idx="531">
                  <c:v>136.74900490236206</c:v>
                </c:pt>
                <c:pt idx="532">
                  <c:v>136.00454058772934</c:v>
                </c:pt>
                <c:pt idx="533">
                  <c:v>136.77036294030864</c:v>
                </c:pt>
                <c:pt idx="534">
                  <c:v>138.57276766355764</c:v>
                </c:pt>
                <c:pt idx="535">
                  <c:v>138.61775226263094</c:v>
                </c:pt>
                <c:pt idx="536">
                  <c:v>138.38145436173872</c:v>
                </c:pt>
                <c:pt idx="537">
                  <c:v>137.90241291459174</c:v>
                </c:pt>
                <c:pt idx="538">
                  <c:v>135.814375465137</c:v>
                </c:pt>
                <c:pt idx="539">
                  <c:v>137.25066808775253</c:v>
                </c:pt>
                <c:pt idx="540">
                  <c:v>136.8799124716123</c:v>
                </c:pt>
                <c:pt idx="541">
                  <c:v>138.67301704933689</c:v>
                </c:pt>
                <c:pt idx="542">
                  <c:v>139.91823650799785</c:v>
                </c:pt>
                <c:pt idx="543">
                  <c:v>139.31264638773476</c:v>
                </c:pt>
                <c:pt idx="544">
                  <c:v>139.53493691820344</c:v>
                </c:pt>
                <c:pt idx="545">
                  <c:v>140.70104184244011</c:v>
                </c:pt>
                <c:pt idx="546">
                  <c:v>141.66685538898327</c:v>
                </c:pt>
                <c:pt idx="547">
                  <c:v>141.73012127593617</c:v>
                </c:pt>
                <c:pt idx="548">
                  <c:v>142.95446483556248</c:v>
                </c:pt>
                <c:pt idx="549">
                  <c:v>144.10312385116683</c:v>
                </c:pt>
              </c:numCache>
            </c:numRef>
          </c:val>
          <c:smooth val="0"/>
        </c:ser>
        <c:dLbls>
          <c:showLegendKey val="0"/>
          <c:showVal val="0"/>
          <c:showCatName val="0"/>
          <c:showSerName val="0"/>
          <c:showPercent val="0"/>
          <c:showBubbleSize val="0"/>
        </c:dLbls>
        <c:marker val="1"/>
        <c:smooth val="0"/>
        <c:axId val="55478528"/>
        <c:axId val="55484416"/>
      </c:lineChart>
      <c:dateAx>
        <c:axId val="55478528"/>
        <c:scaling>
          <c:orientation val="minMax"/>
        </c:scaling>
        <c:delete val="0"/>
        <c:axPos val="b"/>
        <c:numFmt formatCode="[$-409]mmm\-yy;@" sourceLinked="0"/>
        <c:majorTickMark val="in"/>
        <c:minorTickMark val="in"/>
        <c:tickLblPos val="low"/>
        <c:spPr>
          <a:ln w="3164">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55484416"/>
        <c:crosses val="autoZero"/>
        <c:auto val="1"/>
        <c:lblOffset val="100"/>
        <c:baseTimeUnit val="days"/>
      </c:dateAx>
      <c:valAx>
        <c:axId val="55484416"/>
        <c:scaling>
          <c:orientation val="minMax"/>
          <c:min val="80"/>
        </c:scaling>
        <c:delete val="0"/>
        <c:axPos val="l"/>
        <c:majorGridlines>
          <c:spPr>
            <a:ln w="12657">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55478528"/>
        <c:crosses val="autoZero"/>
        <c:crossBetween val="midCat"/>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08.04.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p:spPr>
        <p:txBody>
          <a:bodyPr/>
          <a:lstStyle/>
          <a:p>
            <a:fld id="{ADDD757E-FAFF-4E70-8A6E-E68E4A3D18B0}" type="slidenum">
              <a:rPr lang="de-DE" smtClean="0"/>
              <a:pPr/>
              <a:t>4</a:t>
            </a:fld>
            <a:endParaRPr lang="de-DE" dirty="0" smtClean="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pPr/>
              <a:t>6</a:t>
            </a:fld>
            <a:endParaRPr lang="de-DE" dirty="0" smtClean="0"/>
          </a:p>
        </p:txBody>
      </p:sp>
      <p:sp>
        <p:nvSpPr>
          <p:cNvPr id="91139" name="Rectangle 2"/>
          <p:cNvSpPr>
            <a:spLocks noGrp="1" noRot="1" noChangeAspect="1" noChangeArrowheads="1" noTextEdit="1"/>
          </p:cNvSpPr>
          <p:nvPr>
            <p:ph type="sldImg"/>
          </p:nvPr>
        </p:nvSpPr>
        <p:spPr>
          <a:xfrm>
            <a:off x="952500" y="685800"/>
            <a:ext cx="4953000" cy="3429000"/>
          </a:xfrm>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pPr/>
              <a:t>8</a:t>
            </a:fld>
            <a:endParaRPr lang="de-DE" dirty="0" smtClean="0"/>
          </a:p>
        </p:txBody>
      </p:sp>
      <p:sp>
        <p:nvSpPr>
          <p:cNvPr id="91139" name="Rectangle 2"/>
          <p:cNvSpPr>
            <a:spLocks noGrp="1" noRot="1" noChangeAspect="1" noChangeArrowheads="1" noTextEdit="1"/>
          </p:cNvSpPr>
          <p:nvPr>
            <p:ph type="sldImg"/>
          </p:nvPr>
        </p:nvSpPr>
        <p:spPr>
          <a:xfrm>
            <a:off x="952500" y="685800"/>
            <a:ext cx="4953000" cy="3429000"/>
          </a:xfrm>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pPr/>
              <a:t>9</a:t>
            </a:fld>
            <a:endParaRPr lang="de-DE" dirty="0" smtClean="0"/>
          </a:p>
        </p:txBody>
      </p:sp>
      <p:sp>
        <p:nvSpPr>
          <p:cNvPr id="91139" name="Rectangle 2"/>
          <p:cNvSpPr>
            <a:spLocks noGrp="1" noRot="1" noChangeAspect="1" noChangeArrowheads="1" noTextEdit="1"/>
          </p:cNvSpPr>
          <p:nvPr>
            <p:ph type="sldImg"/>
          </p:nvPr>
        </p:nvSpPr>
        <p:spPr>
          <a:xfrm>
            <a:off x="952500" y="685800"/>
            <a:ext cx="4953000" cy="3429000"/>
          </a:xfrm>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p:spPr>
        <p:txBody>
          <a:bodyPr/>
          <a:lstStyle/>
          <a:p>
            <a:fld id="{0E54BD85-2058-4FEB-89FA-84D5AA3EDA91}" type="slidenum">
              <a:rPr lang="de-DE" smtClean="0"/>
              <a:pPr/>
              <a:t>11</a:t>
            </a:fld>
            <a:endParaRPr lang="de-DE" dirty="0" smtClean="0"/>
          </a:p>
        </p:txBody>
      </p:sp>
      <p:sp>
        <p:nvSpPr>
          <p:cNvPr id="116739" name="Rectangle 2"/>
          <p:cNvSpPr>
            <a:spLocks noGrp="1" noRot="1" noChangeAspect="1" noChangeArrowheads="1" noTextEdit="1"/>
          </p:cNvSpPr>
          <p:nvPr>
            <p:ph type="sldImg"/>
          </p:nvPr>
        </p:nvSpPr>
        <p:spPr>
          <a:xfrm>
            <a:off x="952500" y="685800"/>
            <a:ext cx="4953000" cy="3429000"/>
          </a:xfrm>
          <a:ln/>
        </p:spPr>
      </p:sp>
      <p:sp>
        <p:nvSpPr>
          <p:cNvPr id="1167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pPr/>
              <a:t>13</a:t>
            </a:fld>
            <a:endParaRPr lang="de-DE" dirty="0" smtClean="0"/>
          </a:p>
        </p:txBody>
      </p:sp>
      <p:sp>
        <p:nvSpPr>
          <p:cNvPr id="91139" name="Rectangle 2"/>
          <p:cNvSpPr>
            <a:spLocks noGrp="1" noRot="1" noChangeAspect="1" noChangeArrowheads="1" noTextEdit="1"/>
          </p:cNvSpPr>
          <p:nvPr>
            <p:ph type="sldImg"/>
          </p:nvPr>
        </p:nvSpPr>
        <p:spPr>
          <a:xfrm>
            <a:off x="952500" y="685800"/>
            <a:ext cx="4953000" cy="3429000"/>
          </a:xfrm>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16</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16</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17</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17</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8</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8</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26"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663" r:id="rId17"/>
    <p:sldLayoutId id="2147483667" r:id="rId18"/>
    <p:sldLayoutId id="2147483677" r:id="rId19"/>
    <p:sldLayoutId id="2147483678" r:id="rId20"/>
    <p:sldLayoutId id="2147483784" r:id="rId21"/>
    <p:sldLayoutId id="2147483785" r:id="rId22"/>
    <p:sldLayoutId id="2147483786" r:id="rId23"/>
    <p:sldLayoutId id="2147483787" r:id="rId24"/>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27"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9.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8.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2.png"/><Relationship Id="rId2" Type="http://schemas.openxmlformats.org/officeDocument/2006/relationships/slideLayout" Target="../slideLayouts/slideLayout5.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package" Target="../embeddings/Microsoft_Excel_Binary_Worksheet3.xlsb"/></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arch 2015</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CURRENCY HEDGED INDICES</a:t>
            </a:r>
            <a:r>
              <a:rPr lang="en-US" sz="1800" dirty="0"/>
              <a:t/>
            </a:r>
            <a:br>
              <a:rPr lang="en-US" sz="1800" dirty="0"/>
            </a:br>
            <a:endParaRPr lang="en-US" dirty="0"/>
          </a:p>
        </p:txBody>
      </p:sp>
    </p:spTree>
    <p:extLst>
      <p:ext uri="{BB962C8B-B14F-4D97-AF65-F5344CB8AC3E}">
        <p14:creationId xmlns:p14="http://schemas.microsoft.com/office/powerpoint/2010/main" val="1653729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solidFill>
                  <a:srgbClr val="009EE0"/>
                </a:solidFill>
              </a:rPr>
              <a:t>4. Comparing alternatives: daily vs. monthly hedging</a:t>
            </a:r>
            <a:endParaRPr lang="en-US" dirty="0">
              <a:solidFill>
                <a:schemeClr val="accent5"/>
              </a:solidFill>
            </a:endParaRPr>
          </a:p>
        </p:txBody>
      </p:sp>
    </p:spTree>
    <p:extLst>
      <p:ext uri="{BB962C8B-B14F-4D97-AF65-F5344CB8AC3E}">
        <p14:creationId xmlns:p14="http://schemas.microsoft.com/office/powerpoint/2010/main" val="16726638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en-US" dirty="0" smtClean="0"/>
              <a:t>The choice between a daily vs. monthly hedge is driven by market conditions and portfolio </a:t>
            </a:r>
            <a:r>
              <a:rPr lang="en-US" dirty="0" smtClean="0"/>
              <a:t>construction approach</a:t>
            </a:r>
            <a:endParaRPr lang="en-US" dirty="0" smtClean="0"/>
          </a:p>
        </p:txBody>
      </p:sp>
      <p:sp>
        <p:nvSpPr>
          <p:cNvPr id="28" name="Rectangle 2"/>
          <p:cNvSpPr>
            <a:spLocks noChangeArrowheads="1"/>
          </p:cNvSpPr>
          <p:nvPr/>
        </p:nvSpPr>
        <p:spPr bwMode="auto">
          <a:xfrm>
            <a:off x="5981700" y="1836449"/>
            <a:ext cx="35448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Monthly hedge</a:t>
            </a:r>
            <a:endParaRPr lang="en-US" sz="1600" b="1" dirty="0">
              <a:solidFill>
                <a:schemeClr val="bg1"/>
              </a:solidFill>
            </a:endParaRPr>
          </a:p>
        </p:txBody>
      </p:sp>
      <p:sp>
        <p:nvSpPr>
          <p:cNvPr id="30" name="Rectangle 2"/>
          <p:cNvSpPr>
            <a:spLocks noChangeArrowheads="1"/>
          </p:cNvSpPr>
          <p:nvPr/>
        </p:nvSpPr>
        <p:spPr bwMode="auto">
          <a:xfrm>
            <a:off x="2168526" y="1836449"/>
            <a:ext cx="35448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Daily hedge</a:t>
            </a:r>
            <a:endParaRPr lang="en-US" sz="1600" b="1" dirty="0">
              <a:solidFill>
                <a:schemeClr val="bg1"/>
              </a:solidFill>
            </a:endParaRPr>
          </a:p>
        </p:txBody>
      </p:sp>
      <p:sp>
        <p:nvSpPr>
          <p:cNvPr id="32" name="Rectangle 4"/>
          <p:cNvSpPr>
            <a:spLocks noChangeArrowheads="1"/>
          </p:cNvSpPr>
          <p:nvPr/>
        </p:nvSpPr>
        <p:spPr bwMode="auto">
          <a:xfrm>
            <a:off x="5981700" y="2217740"/>
            <a:ext cx="3544888" cy="116955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Clr>
                <a:schemeClr val="tx1"/>
              </a:buClr>
              <a:buFont typeface="Arial" charset="0"/>
              <a:buChar char="»"/>
            </a:pPr>
            <a:r>
              <a:rPr lang="en-US" sz="1600" dirty="0" smtClean="0"/>
              <a:t>Virtually m</a:t>
            </a:r>
            <a:r>
              <a:rPr lang="en-US" sz="1600" b="0" dirty="0" smtClean="0"/>
              <a:t>aintenance-free within the month</a:t>
            </a:r>
          </a:p>
          <a:p>
            <a:pPr marL="190500" lvl="1" indent="-188913">
              <a:lnSpc>
                <a:spcPct val="95000"/>
              </a:lnSpc>
              <a:spcBef>
                <a:spcPct val="0"/>
              </a:spcBef>
              <a:buClr>
                <a:schemeClr val="tx1"/>
              </a:buClr>
              <a:buFont typeface="Arial" charset="0"/>
              <a:buChar char="»"/>
            </a:pPr>
            <a:r>
              <a:rPr lang="en-US" sz="1600" dirty="0"/>
              <a:t>Indicated </a:t>
            </a:r>
            <a:r>
              <a:rPr lang="en-US" sz="1600" dirty="0" smtClean="0"/>
              <a:t>for stable currency, equity markets</a:t>
            </a:r>
          </a:p>
          <a:p>
            <a:pPr marL="190500" lvl="1" indent="-188913">
              <a:lnSpc>
                <a:spcPct val="95000"/>
              </a:lnSpc>
              <a:spcBef>
                <a:spcPct val="0"/>
              </a:spcBef>
              <a:buClr>
                <a:schemeClr val="tx1"/>
              </a:buClr>
              <a:buFont typeface="Arial" charset="0"/>
              <a:buChar char="»"/>
            </a:pPr>
            <a:r>
              <a:rPr lang="en-US" sz="1600" dirty="0"/>
              <a:t>Indicated for </a:t>
            </a:r>
            <a:r>
              <a:rPr lang="en-US" sz="1600" dirty="0" smtClean="0"/>
              <a:t>low </a:t>
            </a:r>
            <a:r>
              <a:rPr lang="en-US" sz="1600" dirty="0"/>
              <a:t>hedge </a:t>
            </a:r>
            <a:r>
              <a:rPr lang="en-US" sz="1600" dirty="0" smtClean="0"/>
              <a:t>ratios</a:t>
            </a:r>
            <a:endParaRPr lang="en-US" sz="1600" dirty="0"/>
          </a:p>
        </p:txBody>
      </p:sp>
      <p:sp>
        <p:nvSpPr>
          <p:cNvPr id="33" name="Rectangle 9"/>
          <p:cNvSpPr>
            <a:spLocks noChangeArrowheads="1"/>
          </p:cNvSpPr>
          <p:nvPr/>
        </p:nvSpPr>
        <p:spPr bwMode="auto">
          <a:xfrm>
            <a:off x="2168526" y="2217740"/>
            <a:ext cx="3544888" cy="140346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Clr>
                <a:schemeClr val="tx1"/>
              </a:buClr>
              <a:buFont typeface="Arial" charset="0"/>
              <a:buChar char="»"/>
            </a:pPr>
            <a:r>
              <a:rPr lang="en-US" sz="1600" dirty="0" smtClean="0"/>
              <a:t>Hedged notional and i</a:t>
            </a:r>
            <a:r>
              <a:rPr lang="en-US" sz="1600" b="0" dirty="0" smtClean="0"/>
              <a:t>ndividual currency exposures timely updated</a:t>
            </a:r>
          </a:p>
          <a:p>
            <a:pPr marL="190500" lvl="1" indent="-188913" algn="l">
              <a:lnSpc>
                <a:spcPct val="95000"/>
              </a:lnSpc>
              <a:spcBef>
                <a:spcPct val="0"/>
              </a:spcBef>
              <a:buClr>
                <a:schemeClr val="tx1"/>
              </a:buClr>
              <a:buFont typeface="Arial" charset="0"/>
              <a:buChar char="»"/>
            </a:pPr>
            <a:r>
              <a:rPr lang="en-US" sz="1600" dirty="0" smtClean="0"/>
              <a:t>Indicated for volatile currency, equity markets</a:t>
            </a:r>
          </a:p>
          <a:p>
            <a:pPr marL="190500" lvl="1" indent="-188913" algn="l">
              <a:lnSpc>
                <a:spcPct val="95000"/>
              </a:lnSpc>
              <a:spcBef>
                <a:spcPct val="0"/>
              </a:spcBef>
              <a:buClr>
                <a:schemeClr val="tx1"/>
              </a:buClr>
              <a:buFont typeface="Arial" charset="0"/>
              <a:buChar char="»"/>
            </a:pPr>
            <a:r>
              <a:rPr lang="en-US" sz="1600" b="0" dirty="0" smtClean="0"/>
              <a:t>Indicated for high hedge ratios / over-hedging</a:t>
            </a:r>
            <a:endParaRPr lang="en-US" sz="1600" b="0" dirty="0"/>
          </a:p>
        </p:txBody>
      </p:sp>
      <p:sp>
        <p:nvSpPr>
          <p:cNvPr id="34" name="Rectangle 2"/>
          <p:cNvSpPr>
            <a:spLocks noChangeArrowheads="1"/>
          </p:cNvSpPr>
          <p:nvPr/>
        </p:nvSpPr>
        <p:spPr bwMode="auto">
          <a:xfrm>
            <a:off x="368299" y="2217739"/>
            <a:ext cx="1533526" cy="1403461"/>
          </a:xfrm>
          <a:prstGeom prst="rect">
            <a:avLst/>
          </a:prstGeom>
          <a:solidFill>
            <a:srgbClr val="99D8F3"/>
          </a:solidFill>
          <a:ln w="12700" algn="ctr">
            <a:solidFill>
              <a:srgbClr val="99D8F3"/>
            </a:solidFill>
            <a:miter lim="800000"/>
            <a:headEnd/>
            <a:tailEnd/>
          </a:ln>
        </p:spPr>
        <p:txBody>
          <a:bodyPr lIns="90487" tIns="36000" rIns="0" bIns="0"/>
          <a:lstStyle/>
          <a:p>
            <a:pPr>
              <a:spcBef>
                <a:spcPct val="0"/>
              </a:spcBef>
            </a:pPr>
            <a:r>
              <a:rPr lang="en-US" sz="1600" b="1" dirty="0" smtClean="0"/>
              <a:t>Pros</a:t>
            </a:r>
            <a:endParaRPr lang="en-US" sz="1600" b="1" dirty="0"/>
          </a:p>
        </p:txBody>
      </p:sp>
      <p:sp>
        <p:nvSpPr>
          <p:cNvPr id="14" name="Line 5"/>
          <p:cNvSpPr>
            <a:spLocks noChangeShapeType="1"/>
          </p:cNvSpPr>
          <p:nvPr/>
        </p:nvSpPr>
        <p:spPr bwMode="auto">
          <a:xfrm>
            <a:off x="368300" y="3872168"/>
            <a:ext cx="9158288" cy="0"/>
          </a:xfrm>
          <a:prstGeom prst="line">
            <a:avLst/>
          </a:prstGeom>
          <a:noFill/>
          <a:ln w="19050">
            <a:solidFill>
              <a:schemeClr val="tx2"/>
            </a:solidFill>
            <a:round/>
            <a:headEnd/>
            <a:tailEnd/>
          </a:ln>
        </p:spPr>
        <p:txBody>
          <a:bodyPr wrap="none" lIns="0" tIns="0" rIns="0" bIns="0">
            <a:spAutoFit/>
          </a:bodyPr>
          <a:lstStyle/>
          <a:p>
            <a:endParaRPr lang="en-US" sz="1600" dirty="0"/>
          </a:p>
        </p:txBody>
      </p:sp>
      <p:sp>
        <p:nvSpPr>
          <p:cNvPr id="16" name="Rectangle 6"/>
          <p:cNvSpPr>
            <a:spLocks noChangeArrowheads="1"/>
          </p:cNvSpPr>
          <p:nvPr/>
        </p:nvSpPr>
        <p:spPr bwMode="auto">
          <a:xfrm>
            <a:off x="5981700" y="4077535"/>
            <a:ext cx="3544888" cy="935641"/>
          </a:xfrm>
          <a:prstGeom prst="rect">
            <a:avLst/>
          </a:prstGeom>
          <a:noFill/>
          <a:ln w="9525">
            <a:noFill/>
            <a:miter lim="800000"/>
            <a:headEnd/>
            <a:tailEnd/>
          </a:ln>
        </p:spPr>
        <p:txBody>
          <a:bodyPr lIns="0" tIns="0" rIns="0" bIns="0">
            <a:spAutoFit/>
          </a:bodyPr>
          <a:lstStyle/>
          <a:p>
            <a:pPr marL="190500" lvl="1" indent="-188913">
              <a:lnSpc>
                <a:spcPct val="95000"/>
              </a:lnSpc>
              <a:spcBef>
                <a:spcPct val="0"/>
              </a:spcBef>
              <a:buClr>
                <a:schemeClr val="tx1"/>
              </a:buClr>
              <a:buFont typeface="Arial" charset="0"/>
              <a:buChar char="»"/>
            </a:pPr>
            <a:r>
              <a:rPr lang="en-US" sz="1600" dirty="0"/>
              <a:t>Hedged notional </a:t>
            </a:r>
            <a:r>
              <a:rPr lang="en-US" sz="1600" dirty="0" smtClean="0"/>
              <a:t>and individual </a:t>
            </a:r>
            <a:r>
              <a:rPr lang="en-US" sz="1600" dirty="0"/>
              <a:t>currency </a:t>
            </a:r>
            <a:r>
              <a:rPr lang="en-US" sz="1600" dirty="0" smtClean="0"/>
              <a:t>exposures held constant</a:t>
            </a:r>
          </a:p>
          <a:p>
            <a:pPr marL="190500" lvl="1" indent="-188913">
              <a:lnSpc>
                <a:spcPct val="95000"/>
              </a:lnSpc>
              <a:spcBef>
                <a:spcPct val="0"/>
              </a:spcBef>
              <a:buClr>
                <a:schemeClr val="tx1"/>
              </a:buClr>
              <a:buFont typeface="Arial" charset="0"/>
              <a:buChar char="»"/>
            </a:pPr>
            <a:r>
              <a:rPr lang="en-US" sz="1600" dirty="0" smtClean="0"/>
              <a:t>Less responsive in volatile markets, high hedge ratios</a:t>
            </a:r>
            <a:endParaRPr lang="en-US" sz="1600" dirty="0"/>
          </a:p>
        </p:txBody>
      </p:sp>
      <p:sp>
        <p:nvSpPr>
          <p:cNvPr id="17" name="Rectangle 10"/>
          <p:cNvSpPr>
            <a:spLocks noChangeArrowheads="1"/>
          </p:cNvSpPr>
          <p:nvPr/>
        </p:nvSpPr>
        <p:spPr bwMode="auto">
          <a:xfrm>
            <a:off x="2168526" y="4077535"/>
            <a:ext cx="35448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Clr>
                <a:schemeClr val="tx1"/>
              </a:buClr>
              <a:buFont typeface="Arial" charset="0"/>
              <a:buChar char="»"/>
            </a:pPr>
            <a:r>
              <a:rPr lang="en-US" sz="1600" b="0" dirty="0" smtClean="0"/>
              <a:t>May not be “worth the effort” in stable markets, low hedge ratios</a:t>
            </a:r>
          </a:p>
          <a:p>
            <a:pPr marL="190500" lvl="1" indent="-188913" algn="l">
              <a:lnSpc>
                <a:spcPct val="95000"/>
              </a:lnSpc>
              <a:spcBef>
                <a:spcPct val="0"/>
              </a:spcBef>
              <a:buClr>
                <a:schemeClr val="tx1"/>
              </a:buClr>
              <a:buFont typeface="Arial" charset="0"/>
              <a:buChar char="»"/>
            </a:pPr>
            <a:r>
              <a:rPr lang="de-CH" sz="1600" dirty="0" smtClean="0"/>
              <a:t>Implementation </a:t>
            </a:r>
            <a:r>
              <a:rPr lang="de-CH" sz="1600" dirty="0" err="1" smtClean="0"/>
              <a:t>costs</a:t>
            </a:r>
            <a:endParaRPr lang="en-US" sz="1600" b="0" dirty="0" smtClean="0"/>
          </a:p>
        </p:txBody>
      </p:sp>
      <p:sp>
        <p:nvSpPr>
          <p:cNvPr id="18" name="Rectangle 2"/>
          <p:cNvSpPr>
            <a:spLocks noChangeArrowheads="1"/>
          </p:cNvSpPr>
          <p:nvPr/>
        </p:nvSpPr>
        <p:spPr bwMode="auto">
          <a:xfrm>
            <a:off x="368299" y="4077535"/>
            <a:ext cx="1533526" cy="927100"/>
          </a:xfrm>
          <a:prstGeom prst="rect">
            <a:avLst/>
          </a:prstGeom>
          <a:solidFill>
            <a:srgbClr val="99D8F3"/>
          </a:solidFill>
          <a:ln w="12700" algn="ctr">
            <a:solidFill>
              <a:srgbClr val="99D8F3"/>
            </a:solidFill>
            <a:miter lim="800000"/>
            <a:headEnd/>
            <a:tailEnd/>
          </a:ln>
        </p:spPr>
        <p:txBody>
          <a:bodyPr lIns="90487" tIns="36000" rIns="0" bIns="0"/>
          <a:lstStyle/>
          <a:p>
            <a:pPr>
              <a:spcBef>
                <a:spcPct val="0"/>
              </a:spcBef>
            </a:pPr>
            <a:r>
              <a:rPr lang="en-US" sz="1600" b="1" dirty="0" smtClean="0"/>
              <a:t>Cons</a:t>
            </a:r>
            <a:endParaRPr lang="en-US" sz="1600" b="1" dirty="0"/>
          </a:p>
        </p:txBody>
      </p:sp>
    </p:spTree>
    <p:extLst>
      <p:ext uri="{BB962C8B-B14F-4D97-AF65-F5344CB8AC3E}">
        <p14:creationId xmlns:p14="http://schemas.microsoft.com/office/powerpoint/2010/main" val="1233239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solidFill>
                  <a:srgbClr val="009EE0"/>
                </a:solidFill>
              </a:rPr>
              <a:t>5. Daily </a:t>
            </a:r>
            <a:r>
              <a:rPr lang="en-US" dirty="0" smtClean="0">
                <a:solidFill>
                  <a:srgbClr val="009EE0"/>
                </a:solidFill>
              </a:rPr>
              <a:t>vs. monthly </a:t>
            </a:r>
            <a:r>
              <a:rPr lang="en-US" dirty="0" smtClean="0">
                <a:solidFill>
                  <a:srgbClr val="009EE0"/>
                </a:solidFill>
              </a:rPr>
              <a:t>hedging: </a:t>
            </a:r>
            <a:r>
              <a:rPr lang="en-US" dirty="0" smtClean="0">
                <a:solidFill>
                  <a:srgbClr val="009EE0"/>
                </a:solidFill>
              </a:rPr>
              <a:t>formulas explained</a:t>
            </a:r>
            <a:endParaRPr lang="en-US" dirty="0">
              <a:solidFill>
                <a:schemeClr val="accent5"/>
              </a:solidFill>
            </a:endParaRPr>
          </a:p>
        </p:txBody>
      </p:sp>
    </p:spTree>
    <p:extLst>
      <p:ext uri="{BB962C8B-B14F-4D97-AF65-F5344CB8AC3E}">
        <p14:creationId xmlns:p14="http://schemas.microsoft.com/office/powerpoint/2010/main" val="20204142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Daily </a:t>
            </a:r>
            <a:r>
              <a:rPr lang="en-US" dirty="0" smtClean="0"/>
              <a:t>hedging is more responsive, monthly hedging more parsimonious</a:t>
            </a:r>
            <a:endParaRPr lang="en-US" dirty="0" smtClean="0"/>
          </a:p>
        </p:txBody>
      </p:sp>
      <p:sp>
        <p:nvSpPr>
          <p:cNvPr id="10" name="Textplatzhalter 9"/>
          <p:cNvSpPr>
            <a:spLocks noGrp="1"/>
          </p:cNvSpPr>
          <p:nvPr>
            <p:ph type="body" sz="quarter" idx="13"/>
          </p:nvPr>
        </p:nvSpPr>
        <p:spPr>
          <a:xfrm>
            <a:off x="368300" y="1338362"/>
            <a:ext cx="9158288" cy="292388"/>
          </a:xfrm>
        </p:spPr>
        <p:txBody>
          <a:bodyPr/>
          <a:lstStyle/>
          <a:p>
            <a:r>
              <a:rPr lang="en-US" dirty="0" smtClean="0"/>
              <a:t>Mathematically, monthly hedging can be derived from daily hedging formula</a:t>
            </a:r>
            <a:endParaRPr lang="de-DE" dirty="0"/>
          </a:p>
        </p:txBody>
      </p:sp>
      <p:sp>
        <p:nvSpPr>
          <p:cNvPr id="36868" name="Rectangle 2"/>
          <p:cNvSpPr>
            <a:spLocks noChangeArrowheads="1"/>
          </p:cNvSpPr>
          <p:nvPr/>
        </p:nvSpPr>
        <p:spPr bwMode="auto">
          <a:xfrm>
            <a:off x="368300" y="1836738"/>
            <a:ext cx="91582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Daily vs. monthly </a:t>
            </a:r>
            <a:r>
              <a:rPr lang="en-US" sz="1600" b="1" dirty="0" smtClean="0">
                <a:solidFill>
                  <a:schemeClr val="bg1"/>
                </a:solidFill>
              </a:rPr>
              <a:t>currency hedged formula explained</a:t>
            </a:r>
            <a:endParaRPr lang="en-US" sz="1600" b="1" dirty="0">
              <a:solidFill>
                <a:schemeClr val="bg1"/>
              </a:solidFill>
            </a:endParaRPr>
          </a:p>
        </p:txBody>
      </p:sp>
      <mc:AlternateContent xmlns:mc="http://schemas.openxmlformats.org/markup-compatibility/2006">
        <mc:Choice xmlns:a14="http://schemas.microsoft.com/office/drawing/2010/main" Requires="a14">
          <p:sp>
            <p:nvSpPr>
              <p:cNvPr id="2" name="Rectangle 1"/>
              <p:cNvSpPr>
                <a:spLocks noChangeAspect="1"/>
              </p:cNvSpPr>
              <p:nvPr/>
            </p:nvSpPr>
            <p:spPr>
              <a:xfrm>
                <a:off x="877775" y="2261254"/>
                <a:ext cx="7819641" cy="8940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sz="1600" i="1" smtClean="0">
                              <a:latin typeface="Cambria Math"/>
                            </a:rPr>
                          </m:ctrlPr>
                        </m:sSubPr>
                        <m:e>
                          <m:r>
                            <m:rPr>
                              <m:nor/>
                            </m:rPr>
                            <a:rPr lang="en-US" sz="1600"/>
                            <m:t>H</m:t>
                          </m:r>
                          <m:r>
                            <m:rPr>
                              <m:nor/>
                            </m:rPr>
                            <a:rPr lang="en-US" sz="1600"/>
                            <m:t>_</m:t>
                          </m:r>
                          <m:r>
                            <m:rPr>
                              <m:nor/>
                            </m:rPr>
                            <a:rPr lang="en-US" sz="1600"/>
                            <m:t>IDX</m:t>
                          </m:r>
                        </m:e>
                        <m:sub>
                          <m:r>
                            <m:rPr>
                              <m:nor/>
                            </m:rPr>
                            <a:rPr lang="en-US" sz="1600"/>
                            <m:t>t</m:t>
                          </m:r>
                        </m:sub>
                      </m:sSub>
                      <m:r>
                        <m:rPr>
                          <m:nor/>
                        </m:rPr>
                        <a:rPr lang="en-US" sz="1600"/>
                        <m:t>=</m:t>
                      </m:r>
                      <m:sSub>
                        <m:sSubPr>
                          <m:ctrlPr>
                            <a:rPr lang="en-GB" sz="1600" i="1">
                              <a:latin typeface="Cambria Math"/>
                            </a:rPr>
                          </m:ctrlPr>
                        </m:sSubPr>
                        <m:e>
                          <m:r>
                            <m:rPr>
                              <m:nor/>
                            </m:rPr>
                            <a:rPr lang="en-US" sz="1600"/>
                            <m:t>H</m:t>
                          </m:r>
                          <m:r>
                            <m:rPr>
                              <m:nor/>
                            </m:rPr>
                            <a:rPr lang="en-US" sz="1600"/>
                            <m:t>_</m:t>
                          </m:r>
                          <m:r>
                            <m:rPr>
                              <m:nor/>
                            </m:rPr>
                            <a:rPr lang="en-US" sz="1600"/>
                            <m:t>IDX</m:t>
                          </m:r>
                        </m:e>
                        <m:sub>
                          <m:r>
                            <m:rPr>
                              <m:nor/>
                            </m:rPr>
                            <a:rPr lang="en-US" sz="1600"/>
                            <m:t>0</m:t>
                          </m:r>
                        </m:sub>
                      </m:sSub>
                      <m:r>
                        <m:rPr>
                          <m:nor/>
                        </m:rPr>
                        <a:rPr lang="en-US" sz="1600"/>
                        <m:t>∙</m:t>
                      </m:r>
                      <m:d>
                        <m:dPr>
                          <m:begChr m:val="["/>
                          <m:endChr m:val="]"/>
                          <m:ctrlPr>
                            <a:rPr lang="en-US" sz="1600" i="1" smtClean="0">
                              <a:latin typeface="Cambria Math"/>
                            </a:rPr>
                          </m:ctrlPr>
                        </m:dPr>
                        <m:e>
                          <m:f>
                            <m:fPr>
                              <m:ctrlPr>
                                <a:rPr lang="en-GB" sz="1600" i="1">
                                  <a:latin typeface="Cambria Math"/>
                                </a:rPr>
                              </m:ctrlPr>
                            </m:fPr>
                            <m:num>
                              <m:r>
                                <m:rPr>
                                  <m:nor/>
                                </m:rPr>
                                <a:rPr lang="en-US" sz="1600"/>
                                <m:t>U</m:t>
                              </m:r>
                              <m:sSub>
                                <m:sSubPr>
                                  <m:ctrlPr>
                                    <a:rPr lang="en-GB" sz="1600" i="1">
                                      <a:latin typeface="Cambria Math"/>
                                    </a:rPr>
                                  </m:ctrlPr>
                                </m:sSubPr>
                                <m:e>
                                  <m:r>
                                    <m:rPr>
                                      <m:nor/>
                                    </m:rPr>
                                    <a:rPr lang="en-US" sz="1600"/>
                                    <m:t>H</m:t>
                                  </m:r>
                                  <m:r>
                                    <m:rPr>
                                      <m:nor/>
                                    </m:rPr>
                                    <a:rPr lang="en-US" sz="1600"/>
                                    <m:t>_</m:t>
                                  </m:r>
                                  <m:r>
                                    <m:rPr>
                                      <m:nor/>
                                    </m:rPr>
                                    <a:rPr lang="en-US" sz="1600"/>
                                    <m:t>IDX</m:t>
                                  </m:r>
                                </m:e>
                                <m:sub>
                                  <m:r>
                                    <m:rPr>
                                      <m:nor/>
                                    </m:rPr>
                                    <a:rPr lang="en-US" sz="1600"/>
                                    <m:t>t</m:t>
                                  </m:r>
                                </m:sub>
                              </m:sSub>
                            </m:num>
                            <m:den>
                              <m:sSub>
                                <m:sSubPr>
                                  <m:ctrlPr>
                                    <a:rPr lang="en-GB" sz="1600" i="1">
                                      <a:latin typeface="Cambria Math"/>
                                    </a:rPr>
                                  </m:ctrlPr>
                                </m:sSubPr>
                                <m:e>
                                  <m:r>
                                    <m:rPr>
                                      <m:nor/>
                                    </m:rPr>
                                    <a:rPr lang="en-US" sz="1600"/>
                                    <m:t>UH</m:t>
                                  </m:r>
                                  <m:r>
                                    <m:rPr>
                                      <m:nor/>
                                    </m:rPr>
                                    <a:rPr lang="en-US" sz="1600"/>
                                    <m:t>_</m:t>
                                  </m:r>
                                  <m:r>
                                    <m:rPr>
                                      <m:nor/>
                                    </m:rPr>
                                    <a:rPr lang="en-US" sz="1600"/>
                                    <m:t>IDX</m:t>
                                  </m:r>
                                </m:e>
                                <m:sub>
                                  <m:r>
                                    <m:rPr>
                                      <m:nor/>
                                    </m:rPr>
                                    <a:rPr lang="en-US" sz="1600"/>
                                    <m:t>0</m:t>
                                  </m:r>
                                </m:sub>
                              </m:sSub>
                            </m:den>
                          </m:f>
                          <m:r>
                            <m:rPr>
                              <m:nor/>
                            </m:rPr>
                            <a:rPr lang="en-US" sz="1600"/>
                            <m:t>+</m:t>
                          </m:r>
                          <m:nary>
                            <m:naryPr>
                              <m:chr m:val="∑"/>
                              <m:limLoc m:val="undOvr"/>
                              <m:ctrlPr>
                                <a:rPr lang="en-GB" sz="1600" i="1">
                                  <a:latin typeface="Cambria Math"/>
                                </a:rPr>
                              </m:ctrlPr>
                            </m:naryPr>
                            <m:sub>
                              <m:r>
                                <m:rPr>
                                  <m:nor/>
                                </m:rPr>
                                <a:rPr lang="en-US" sz="1600"/>
                                <m:t>d</m:t>
                              </m:r>
                              <m:r>
                                <m:rPr>
                                  <m:nor/>
                                </m:rPr>
                                <a:rPr lang="en-US" sz="1600"/>
                                <m:t>=1</m:t>
                              </m:r>
                            </m:sub>
                            <m:sup>
                              <m:r>
                                <m:rPr>
                                  <m:nor/>
                                </m:rPr>
                                <a:rPr lang="en-US" sz="1600"/>
                                <m:t>t</m:t>
                              </m:r>
                            </m:sup>
                            <m:e>
                              <m:f>
                                <m:fPr>
                                  <m:ctrlPr>
                                    <a:rPr lang="en-US" sz="1600" i="1">
                                      <a:latin typeface="Cambria Math"/>
                                    </a:rPr>
                                  </m:ctrlPr>
                                </m:fPr>
                                <m:num>
                                  <m:sSub>
                                    <m:sSubPr>
                                      <m:ctrlPr>
                                        <a:rPr lang="en-GB" sz="1600" i="1">
                                          <a:latin typeface="Cambria Math"/>
                                        </a:rPr>
                                      </m:ctrlPr>
                                    </m:sSubPr>
                                    <m:e>
                                      <m:r>
                                        <m:rPr>
                                          <m:nor/>
                                        </m:rPr>
                                        <a:rPr lang="de-CH" sz="1600"/>
                                        <m:t>UH</m:t>
                                      </m:r>
                                      <m:r>
                                        <m:rPr>
                                          <m:nor/>
                                        </m:rPr>
                                        <a:rPr lang="de-CH" sz="1600"/>
                                        <m:t>_</m:t>
                                      </m:r>
                                      <m:r>
                                        <m:rPr>
                                          <m:nor/>
                                        </m:rPr>
                                        <a:rPr lang="de-CH" sz="1600"/>
                                        <m:t>IDX</m:t>
                                      </m:r>
                                    </m:e>
                                    <m:sub>
                                      <m:r>
                                        <m:rPr>
                                          <m:nor/>
                                        </m:rPr>
                                        <a:rPr lang="en-US" sz="1600"/>
                                        <m:t>d</m:t>
                                      </m:r>
                                      <m:r>
                                        <m:rPr>
                                          <m:nor/>
                                        </m:rPr>
                                        <a:rPr lang="en-US" sz="1600" i="1"/>
                                        <m:t>−</m:t>
                                      </m:r>
                                      <m:r>
                                        <m:rPr>
                                          <m:nor/>
                                        </m:rPr>
                                        <a:rPr lang="en-US" sz="1600"/>
                                        <m:t>1</m:t>
                                      </m:r>
                                    </m:sub>
                                  </m:sSub>
                                </m:num>
                                <m:den>
                                  <m:sSub>
                                    <m:sSubPr>
                                      <m:ctrlPr>
                                        <a:rPr lang="en-GB" sz="1600" i="1">
                                          <a:latin typeface="Cambria Math"/>
                                        </a:rPr>
                                      </m:ctrlPr>
                                    </m:sSubPr>
                                    <m:e>
                                      <m:r>
                                        <m:rPr>
                                          <m:nor/>
                                        </m:rPr>
                                        <a:rPr lang="en-US" sz="1600"/>
                                        <m:t>UH</m:t>
                                      </m:r>
                                      <m:r>
                                        <m:rPr>
                                          <m:nor/>
                                        </m:rPr>
                                        <a:rPr lang="en-US" sz="1600"/>
                                        <m:t>_</m:t>
                                      </m:r>
                                      <m:r>
                                        <m:rPr>
                                          <m:nor/>
                                        </m:rPr>
                                        <a:rPr lang="en-US" sz="1600"/>
                                        <m:t>IDX</m:t>
                                      </m:r>
                                    </m:e>
                                    <m:sub>
                                      <m:r>
                                        <m:rPr>
                                          <m:nor/>
                                        </m:rPr>
                                        <a:rPr lang="en-US" sz="1600"/>
                                        <m:t>0</m:t>
                                      </m:r>
                                    </m:sub>
                                  </m:sSub>
                                </m:den>
                              </m:f>
                              <m:r>
                                <m:rPr>
                                  <m:nor/>
                                </m:rPr>
                                <a:rPr lang="en-US" sz="1600"/>
                                <m:t>∙</m:t>
                              </m:r>
                              <m:nary>
                                <m:naryPr>
                                  <m:chr m:val="∑"/>
                                  <m:limLoc m:val="undOvr"/>
                                  <m:ctrlPr>
                                    <a:rPr lang="en-GB" sz="1600" i="1">
                                      <a:latin typeface="Cambria Math"/>
                                    </a:rPr>
                                  </m:ctrlPr>
                                </m:naryPr>
                                <m:sub>
                                  <m:r>
                                    <m:rPr>
                                      <m:nor/>
                                    </m:rPr>
                                    <a:rPr lang="en-US" sz="1600"/>
                                    <m:t>c</m:t>
                                  </m:r>
                                  <m:r>
                                    <m:rPr>
                                      <m:nor/>
                                    </m:rPr>
                                    <a:rPr lang="en-US" sz="1600"/>
                                    <m:t>=1</m:t>
                                  </m:r>
                                </m:sub>
                                <m:sup>
                                  <m:r>
                                    <m:rPr>
                                      <m:nor/>
                                    </m:rPr>
                                    <a:rPr lang="en-US" sz="1600"/>
                                    <m:t>C</m:t>
                                  </m:r>
                                </m:sup>
                                <m:e>
                                  <m:sSub>
                                    <m:sSubPr>
                                      <m:ctrlPr>
                                        <a:rPr lang="en-GB" sz="1600" i="1">
                                          <a:latin typeface="Cambria Math"/>
                                        </a:rPr>
                                      </m:ctrlPr>
                                    </m:sSubPr>
                                    <m:e>
                                      <m:r>
                                        <m:rPr>
                                          <m:nor/>
                                        </m:rPr>
                                        <a:rPr lang="en-US" sz="1600"/>
                                        <m:t>HR</m:t>
                                      </m:r>
                                    </m:e>
                                    <m:sub>
                                      <m:r>
                                        <m:rPr>
                                          <m:nor/>
                                        </m:rPr>
                                        <a:rPr lang="en-US" sz="1600"/>
                                        <m:t>c</m:t>
                                      </m:r>
                                      <m:r>
                                        <m:rPr>
                                          <m:nor/>
                                        </m:rPr>
                                        <a:rPr lang="en-US" sz="1600"/>
                                        <m:t>,</m:t>
                                      </m:r>
                                      <m:r>
                                        <m:rPr>
                                          <m:nor/>
                                        </m:rPr>
                                        <a:rPr lang="de-CH" sz="1600"/>
                                        <m:t>d</m:t>
                                      </m:r>
                                      <m:r>
                                        <m:rPr>
                                          <m:nor/>
                                        </m:rPr>
                                        <a:rPr lang="en-US" sz="1600" i="1"/>
                                        <m:t>−</m:t>
                                      </m:r>
                                      <m:r>
                                        <m:rPr>
                                          <m:nor/>
                                        </m:rPr>
                                        <a:rPr lang="en-US" sz="1600"/>
                                        <m:t>1</m:t>
                                      </m:r>
                                    </m:sub>
                                  </m:sSub>
                                  <m:r>
                                    <m:rPr>
                                      <m:nor/>
                                    </m:rPr>
                                    <a:rPr lang="en-US" sz="1600"/>
                                    <m:t>∙</m:t>
                                  </m:r>
                                  <m:d>
                                    <m:dPr>
                                      <m:ctrlPr>
                                        <a:rPr lang="en-GB" sz="1600" i="1">
                                          <a:latin typeface="Cambria Math"/>
                                        </a:rPr>
                                      </m:ctrlPr>
                                    </m:dPr>
                                    <m:e>
                                      <m:f>
                                        <m:fPr>
                                          <m:ctrlPr>
                                            <a:rPr lang="en-GB" sz="1600" i="1">
                                              <a:latin typeface="Cambria Math"/>
                                            </a:rPr>
                                          </m:ctrlPr>
                                        </m:fPr>
                                        <m:num>
                                          <m:sSub>
                                            <m:sSubPr>
                                              <m:ctrlPr>
                                                <a:rPr lang="en-GB" sz="1600" i="1">
                                                  <a:latin typeface="Cambria Math"/>
                                                </a:rPr>
                                              </m:ctrlPr>
                                            </m:sSubPr>
                                            <m:e>
                                              <m:r>
                                                <m:rPr>
                                                  <m:nor/>
                                                </m:rPr>
                                                <a:rPr lang="en-US" sz="1600"/>
                                                <m:t>FX</m:t>
                                              </m:r>
                                            </m:e>
                                            <m:sub>
                                              <m:r>
                                                <m:rPr>
                                                  <m:nor/>
                                                </m:rPr>
                                                <a:rPr lang="en-US" sz="1600"/>
                                                <m:t>c</m:t>
                                              </m:r>
                                              <m:r>
                                                <m:rPr>
                                                  <m:nor/>
                                                </m:rPr>
                                                <a:rPr lang="en-US" sz="1600"/>
                                                <m:t>,0</m:t>
                                              </m:r>
                                            </m:sub>
                                          </m:sSub>
                                        </m:num>
                                        <m:den>
                                          <m:sSub>
                                            <m:sSubPr>
                                              <m:ctrlPr>
                                                <a:rPr lang="en-GB" sz="1600" i="1">
                                                  <a:latin typeface="Cambria Math"/>
                                                </a:rPr>
                                              </m:ctrlPr>
                                            </m:sSubPr>
                                            <m:e>
                                              <m:r>
                                                <m:rPr>
                                                  <m:nor/>
                                                </m:rPr>
                                                <a:rPr lang="en-US" sz="1600"/>
                                                <m:t>IFF</m:t>
                                              </m:r>
                                            </m:e>
                                            <m:sub>
                                              <m:r>
                                                <m:rPr>
                                                  <m:nor/>
                                                </m:rPr>
                                                <a:rPr lang="en-US" sz="1600"/>
                                                <m:t>c</m:t>
                                              </m:r>
                                              <m:r>
                                                <m:rPr>
                                                  <m:nor/>
                                                </m:rPr>
                                                <a:rPr lang="en-US" sz="1600"/>
                                                <m:t>,</m:t>
                                              </m:r>
                                              <m:r>
                                                <m:rPr>
                                                  <m:nor/>
                                                </m:rPr>
                                                <a:rPr lang="de-CH" sz="1600"/>
                                                <m:t>d</m:t>
                                              </m:r>
                                              <m:r>
                                                <m:rPr>
                                                  <m:nor/>
                                                </m:rPr>
                                                <a:rPr lang="en-US" sz="1600" i="1"/>
                                                <m:t>−</m:t>
                                              </m:r>
                                              <m:r>
                                                <m:rPr>
                                                  <m:nor/>
                                                </m:rPr>
                                                <a:rPr lang="en-US" sz="1600"/>
                                                <m:t>1</m:t>
                                              </m:r>
                                            </m:sub>
                                          </m:sSub>
                                        </m:den>
                                      </m:f>
                                      <m:r>
                                        <m:rPr>
                                          <m:nor/>
                                        </m:rPr>
                                        <a:rPr lang="en-US" sz="1600" i="1"/>
                                        <m:t>−</m:t>
                                      </m:r>
                                      <m:f>
                                        <m:fPr>
                                          <m:ctrlPr>
                                            <a:rPr lang="en-GB" sz="1600" i="1">
                                              <a:latin typeface="Cambria Math"/>
                                            </a:rPr>
                                          </m:ctrlPr>
                                        </m:fPr>
                                        <m:num>
                                          <m:sSub>
                                            <m:sSubPr>
                                              <m:ctrlPr>
                                                <a:rPr lang="en-GB" sz="1600" i="1">
                                                  <a:latin typeface="Cambria Math"/>
                                                </a:rPr>
                                              </m:ctrlPr>
                                            </m:sSubPr>
                                            <m:e>
                                              <m:r>
                                                <m:rPr>
                                                  <m:nor/>
                                                </m:rPr>
                                                <a:rPr lang="en-US" sz="1600"/>
                                                <m:t>FX</m:t>
                                              </m:r>
                                            </m:e>
                                            <m:sub>
                                              <m:r>
                                                <m:rPr>
                                                  <m:nor/>
                                                </m:rPr>
                                                <a:rPr lang="en-US" sz="1600"/>
                                                <m:t>c</m:t>
                                              </m:r>
                                              <m:r>
                                                <m:rPr>
                                                  <m:nor/>
                                                </m:rPr>
                                                <a:rPr lang="en-US" sz="1600"/>
                                                <m:t>,0</m:t>
                                              </m:r>
                                            </m:sub>
                                          </m:sSub>
                                        </m:num>
                                        <m:den>
                                          <m:sSub>
                                            <m:sSubPr>
                                              <m:ctrlPr>
                                                <a:rPr lang="en-GB" sz="1600" i="1">
                                                  <a:latin typeface="Cambria Math"/>
                                                </a:rPr>
                                              </m:ctrlPr>
                                            </m:sSubPr>
                                            <m:e>
                                              <m:r>
                                                <m:rPr>
                                                  <m:nor/>
                                                </m:rPr>
                                                <a:rPr lang="en-US" sz="1600"/>
                                                <m:t>IFF</m:t>
                                              </m:r>
                                            </m:e>
                                            <m:sub>
                                              <m:r>
                                                <m:rPr>
                                                  <m:nor/>
                                                </m:rPr>
                                                <a:rPr lang="en-US" sz="1600"/>
                                                <m:t>c</m:t>
                                              </m:r>
                                              <m:r>
                                                <m:rPr>
                                                  <m:nor/>
                                                </m:rPr>
                                                <a:rPr lang="en-US" sz="1600"/>
                                                <m:t>,</m:t>
                                              </m:r>
                                              <m:r>
                                                <m:rPr>
                                                  <m:nor/>
                                                </m:rPr>
                                                <a:rPr lang="de-CH" sz="1600"/>
                                                <m:t>d</m:t>
                                              </m:r>
                                            </m:sub>
                                          </m:sSub>
                                        </m:den>
                                      </m:f>
                                    </m:e>
                                  </m:d>
                                </m:e>
                              </m:nary>
                            </m:e>
                          </m:nary>
                        </m:e>
                      </m:d>
                    </m:oMath>
                  </m:oMathPara>
                </a14:m>
                <a:endParaRPr lang="en-GB" sz="1600" dirty="0"/>
              </a:p>
            </p:txBody>
          </p:sp>
        </mc:Choice>
        <mc:Fallback>
          <p:sp>
            <p:nvSpPr>
              <p:cNvPr id="2" name="Rectangle 1"/>
              <p:cNvSpPr>
                <a:spLocks noRot="1" noChangeAspect="1" noMove="1" noResize="1" noEditPoints="1" noAdjustHandles="1" noChangeArrowheads="1" noChangeShapeType="1" noTextEdit="1"/>
              </p:cNvSpPr>
              <p:nvPr/>
            </p:nvSpPr>
            <p:spPr>
              <a:xfrm>
                <a:off x="877775" y="2261254"/>
                <a:ext cx="7819641" cy="894027"/>
              </a:xfrm>
              <a:prstGeom prst="rect">
                <a:avLst/>
              </a:prstGeom>
              <a:blipFill rotWithShape="1">
                <a:blip r:embed="rId3"/>
                <a:stretch>
                  <a:fillRect/>
                </a:stretch>
              </a:blipFill>
            </p:spPr>
            <p:txBody>
              <a:bodyPr/>
              <a:lstStyle/>
              <a:p>
                <a:r>
                  <a:rPr lang="en-GB">
                    <a:noFill/>
                  </a:rPr>
                  <a:t> </a:t>
                </a:r>
              </a:p>
            </p:txBody>
          </p:sp>
        </mc:Fallback>
      </mc:AlternateContent>
      <p:sp>
        <p:nvSpPr>
          <p:cNvPr id="4" name="Left Brace 3"/>
          <p:cNvSpPr/>
          <p:nvPr/>
        </p:nvSpPr>
        <p:spPr>
          <a:xfrm rot="16200000">
            <a:off x="7520513" y="2998380"/>
            <a:ext cx="108013" cy="1728192"/>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 name="TextBox 4"/>
          <p:cNvSpPr txBox="1"/>
          <p:nvPr/>
        </p:nvSpPr>
        <p:spPr>
          <a:xfrm>
            <a:off x="6710422" y="3916483"/>
            <a:ext cx="1728192" cy="292388"/>
          </a:xfrm>
          <a:prstGeom prst="rect">
            <a:avLst/>
          </a:prstGeom>
          <a:noFill/>
        </p:spPr>
        <p:txBody>
          <a:bodyPr wrap="square" lIns="0" tIns="0" rIns="0" bIns="0" rtlCol="0">
            <a:spAutoFit/>
          </a:bodyPr>
          <a:lstStyle/>
          <a:p>
            <a:pPr algn="ctr">
              <a:lnSpc>
                <a:spcPct val="95000"/>
              </a:lnSpc>
            </a:pPr>
            <a:r>
              <a:rPr lang="en-GB" sz="1000" dirty="0" smtClean="0"/>
              <a:t>Return from single currency forward</a:t>
            </a:r>
          </a:p>
        </p:txBody>
      </p:sp>
      <p:sp>
        <p:nvSpPr>
          <p:cNvPr id="22" name="Left Brace 21"/>
          <p:cNvSpPr/>
          <p:nvPr/>
        </p:nvSpPr>
        <p:spPr>
          <a:xfrm rot="16200000">
            <a:off x="6080196" y="3440979"/>
            <a:ext cx="108013" cy="851315"/>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 name="TextBox 22"/>
          <p:cNvSpPr txBox="1"/>
          <p:nvPr/>
        </p:nvSpPr>
        <p:spPr>
          <a:xfrm>
            <a:off x="5708545" y="3906958"/>
            <a:ext cx="851315" cy="438582"/>
          </a:xfrm>
          <a:prstGeom prst="rect">
            <a:avLst/>
          </a:prstGeom>
          <a:noFill/>
        </p:spPr>
        <p:txBody>
          <a:bodyPr wrap="square" lIns="0" tIns="0" rIns="0" bIns="0" rtlCol="0">
            <a:spAutoFit/>
          </a:bodyPr>
          <a:lstStyle/>
          <a:p>
            <a:pPr algn="ctr">
              <a:lnSpc>
                <a:spcPct val="95000"/>
              </a:lnSpc>
            </a:pPr>
            <a:r>
              <a:rPr lang="en-GB" sz="1000" dirty="0" smtClean="0"/>
              <a:t>Single currency exposure</a:t>
            </a:r>
          </a:p>
        </p:txBody>
      </p:sp>
      <p:sp>
        <p:nvSpPr>
          <p:cNvPr id="24" name="Left Brace 23"/>
          <p:cNvSpPr/>
          <p:nvPr/>
        </p:nvSpPr>
        <p:spPr>
          <a:xfrm rot="16200000">
            <a:off x="4679392" y="3005569"/>
            <a:ext cx="108014" cy="1073729"/>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TextBox 24"/>
          <p:cNvSpPr txBox="1"/>
          <p:nvPr/>
        </p:nvSpPr>
        <p:spPr>
          <a:xfrm>
            <a:off x="4196535" y="3592281"/>
            <a:ext cx="1073730" cy="292388"/>
          </a:xfrm>
          <a:prstGeom prst="rect">
            <a:avLst/>
          </a:prstGeom>
          <a:noFill/>
        </p:spPr>
        <p:txBody>
          <a:bodyPr wrap="square" lIns="0" tIns="0" rIns="0" bIns="0" rtlCol="0">
            <a:spAutoFit/>
          </a:bodyPr>
          <a:lstStyle/>
          <a:p>
            <a:pPr algn="ctr">
              <a:lnSpc>
                <a:spcPct val="95000"/>
              </a:lnSpc>
            </a:pPr>
            <a:r>
              <a:rPr lang="en-GB" sz="1000" dirty="0" smtClean="0"/>
              <a:t>Hedged notional scaling factor</a:t>
            </a:r>
          </a:p>
        </p:txBody>
      </p:sp>
      <p:sp>
        <p:nvSpPr>
          <p:cNvPr id="27" name="TextBox 26"/>
          <p:cNvSpPr txBox="1"/>
          <p:nvPr/>
        </p:nvSpPr>
        <p:spPr>
          <a:xfrm>
            <a:off x="2720752" y="3269677"/>
            <a:ext cx="873197" cy="292388"/>
          </a:xfrm>
          <a:prstGeom prst="rect">
            <a:avLst/>
          </a:prstGeom>
          <a:noFill/>
        </p:spPr>
        <p:txBody>
          <a:bodyPr wrap="square" lIns="0" tIns="0" rIns="0" bIns="0" rtlCol="0">
            <a:spAutoFit/>
          </a:bodyPr>
          <a:lstStyle/>
          <a:p>
            <a:pPr algn="ctr">
              <a:lnSpc>
                <a:spcPct val="95000"/>
              </a:lnSpc>
            </a:pPr>
            <a:r>
              <a:rPr lang="en-GB" sz="1000" dirty="0" smtClean="0"/>
              <a:t>Unhedged return</a:t>
            </a:r>
          </a:p>
        </p:txBody>
      </p:sp>
      <p:sp>
        <p:nvSpPr>
          <p:cNvPr id="28" name="Left Brace 27"/>
          <p:cNvSpPr/>
          <p:nvPr/>
        </p:nvSpPr>
        <p:spPr>
          <a:xfrm rot="16200000">
            <a:off x="3103349" y="2779080"/>
            <a:ext cx="108000" cy="873196"/>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9" name="Left Brace 28"/>
          <p:cNvSpPr/>
          <p:nvPr/>
        </p:nvSpPr>
        <p:spPr>
          <a:xfrm rot="16200000">
            <a:off x="6854609" y="2017250"/>
            <a:ext cx="108013" cy="3060000"/>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0" name="TextBox 29"/>
          <p:cNvSpPr txBox="1"/>
          <p:nvPr/>
        </p:nvSpPr>
        <p:spPr>
          <a:xfrm>
            <a:off x="5378614" y="3601256"/>
            <a:ext cx="3060002" cy="146194"/>
          </a:xfrm>
          <a:prstGeom prst="rect">
            <a:avLst/>
          </a:prstGeom>
          <a:noFill/>
        </p:spPr>
        <p:txBody>
          <a:bodyPr wrap="square" lIns="0" tIns="0" rIns="0" bIns="0" rtlCol="0">
            <a:spAutoFit/>
          </a:bodyPr>
          <a:lstStyle/>
          <a:p>
            <a:pPr algn="ctr">
              <a:lnSpc>
                <a:spcPct val="95000"/>
              </a:lnSpc>
            </a:pPr>
            <a:r>
              <a:rPr lang="en-GB" sz="1000" dirty="0" smtClean="0"/>
              <a:t>Return from all currency forwards</a:t>
            </a:r>
          </a:p>
        </p:txBody>
      </p:sp>
      <p:sp>
        <p:nvSpPr>
          <p:cNvPr id="31" name="Left Brace 30"/>
          <p:cNvSpPr/>
          <p:nvPr/>
        </p:nvSpPr>
        <p:spPr>
          <a:xfrm rot="16200000">
            <a:off x="6044350" y="873004"/>
            <a:ext cx="108013" cy="4680518"/>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2" name="TextBox 31"/>
          <p:cNvSpPr txBox="1"/>
          <p:nvPr/>
        </p:nvSpPr>
        <p:spPr>
          <a:xfrm>
            <a:off x="3758096" y="3286475"/>
            <a:ext cx="4680518" cy="146194"/>
          </a:xfrm>
          <a:prstGeom prst="rect">
            <a:avLst/>
          </a:prstGeom>
          <a:noFill/>
        </p:spPr>
        <p:txBody>
          <a:bodyPr wrap="square" lIns="0" tIns="0" rIns="0" bIns="0" rtlCol="0">
            <a:spAutoFit/>
          </a:bodyPr>
          <a:lstStyle/>
          <a:p>
            <a:pPr algn="ctr">
              <a:lnSpc>
                <a:spcPct val="95000"/>
              </a:lnSpc>
            </a:pPr>
            <a:r>
              <a:rPr lang="en-GB" sz="1000" dirty="0" smtClean="0"/>
              <a:t>Return from daily hedging of whole portfolio</a:t>
            </a:r>
          </a:p>
        </p:txBody>
      </p:sp>
      <p:sp>
        <p:nvSpPr>
          <p:cNvPr id="21" name="Text Placeholder 1"/>
          <p:cNvSpPr>
            <a:spLocks noGrp="1"/>
          </p:cNvSpPr>
          <p:nvPr>
            <p:ph type="body" sz="quarter" idx="12"/>
          </p:nvPr>
        </p:nvSpPr>
        <p:spPr>
          <a:xfrm>
            <a:off x="1704043" y="6444503"/>
            <a:ext cx="2753657" cy="171450"/>
          </a:xfrm>
        </p:spPr>
        <p:txBody>
          <a:bodyPr/>
          <a:lstStyle/>
          <a:p>
            <a:pPr marL="0" indent="0">
              <a:buNone/>
            </a:pPr>
            <a:r>
              <a:rPr lang="en-US" dirty="0" smtClean="0"/>
              <a:t>The interpolated forward rate is calculated as </a:t>
            </a:r>
            <a:endParaRPr lang="en-US" dirty="0"/>
          </a:p>
        </p:txBody>
      </p:sp>
      <mc:AlternateContent xmlns:mc="http://schemas.openxmlformats.org/markup-compatibility/2006">
        <mc:Choice xmlns:a14="http://schemas.microsoft.com/office/drawing/2010/main" Requires="a14">
          <p:sp>
            <p:nvSpPr>
              <p:cNvPr id="33" name="Rectangle 32"/>
              <p:cNvSpPr>
                <a:spLocks noChangeAspect="1"/>
              </p:cNvSpPr>
              <p:nvPr/>
            </p:nvSpPr>
            <p:spPr>
              <a:xfrm>
                <a:off x="915944" y="5289188"/>
                <a:ext cx="5643916" cy="89402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sz="1600" i="1" smtClean="0">
                              <a:latin typeface="Cambria Math"/>
                            </a:rPr>
                          </m:ctrlPr>
                        </m:sSubPr>
                        <m:e>
                          <m:r>
                            <m:rPr>
                              <m:nor/>
                            </m:rPr>
                            <a:rPr lang="en-US" sz="1600"/>
                            <m:t>H</m:t>
                          </m:r>
                          <m:r>
                            <m:rPr>
                              <m:nor/>
                            </m:rPr>
                            <a:rPr lang="en-US" sz="1600"/>
                            <m:t>_</m:t>
                          </m:r>
                          <m:r>
                            <m:rPr>
                              <m:nor/>
                            </m:rPr>
                            <a:rPr lang="en-US" sz="1600"/>
                            <m:t>IDX</m:t>
                          </m:r>
                        </m:e>
                        <m:sub>
                          <m:r>
                            <m:rPr>
                              <m:nor/>
                            </m:rPr>
                            <a:rPr lang="en-US" sz="1600"/>
                            <m:t>t</m:t>
                          </m:r>
                        </m:sub>
                      </m:sSub>
                      <m:r>
                        <m:rPr>
                          <m:nor/>
                        </m:rPr>
                        <a:rPr lang="en-US" sz="1600"/>
                        <m:t>=</m:t>
                      </m:r>
                      <m:sSub>
                        <m:sSubPr>
                          <m:ctrlPr>
                            <a:rPr lang="en-GB" sz="1600" i="1">
                              <a:latin typeface="Cambria Math"/>
                            </a:rPr>
                          </m:ctrlPr>
                        </m:sSubPr>
                        <m:e>
                          <m:r>
                            <m:rPr>
                              <m:nor/>
                            </m:rPr>
                            <a:rPr lang="en-US" sz="1600"/>
                            <m:t>H</m:t>
                          </m:r>
                          <m:r>
                            <m:rPr>
                              <m:nor/>
                            </m:rPr>
                            <a:rPr lang="en-US" sz="1600"/>
                            <m:t>_</m:t>
                          </m:r>
                          <m:r>
                            <m:rPr>
                              <m:nor/>
                            </m:rPr>
                            <a:rPr lang="en-US" sz="1600"/>
                            <m:t>IDX</m:t>
                          </m:r>
                        </m:e>
                        <m:sub>
                          <m:r>
                            <m:rPr>
                              <m:nor/>
                            </m:rPr>
                            <a:rPr lang="en-US" sz="1600"/>
                            <m:t>0</m:t>
                          </m:r>
                        </m:sub>
                      </m:sSub>
                      <m:r>
                        <m:rPr>
                          <m:nor/>
                        </m:rPr>
                        <a:rPr lang="en-US" sz="1600"/>
                        <m:t>∙</m:t>
                      </m:r>
                      <m:d>
                        <m:dPr>
                          <m:begChr m:val="["/>
                          <m:endChr m:val="]"/>
                          <m:ctrlPr>
                            <a:rPr lang="en-US" sz="1600" i="1" smtClean="0">
                              <a:latin typeface="Cambria Math"/>
                            </a:rPr>
                          </m:ctrlPr>
                        </m:dPr>
                        <m:e>
                          <m:f>
                            <m:fPr>
                              <m:ctrlPr>
                                <a:rPr lang="en-GB" sz="1600" i="1">
                                  <a:latin typeface="Cambria Math"/>
                                </a:rPr>
                              </m:ctrlPr>
                            </m:fPr>
                            <m:num>
                              <m:r>
                                <m:rPr>
                                  <m:nor/>
                                </m:rPr>
                                <a:rPr lang="en-US" sz="1600"/>
                                <m:t>U</m:t>
                              </m:r>
                              <m:sSub>
                                <m:sSubPr>
                                  <m:ctrlPr>
                                    <a:rPr lang="en-GB" sz="1600" i="1">
                                      <a:latin typeface="Cambria Math"/>
                                    </a:rPr>
                                  </m:ctrlPr>
                                </m:sSubPr>
                                <m:e>
                                  <m:r>
                                    <m:rPr>
                                      <m:nor/>
                                    </m:rPr>
                                    <a:rPr lang="en-US" sz="1600"/>
                                    <m:t>H</m:t>
                                  </m:r>
                                  <m:r>
                                    <m:rPr>
                                      <m:nor/>
                                    </m:rPr>
                                    <a:rPr lang="en-US" sz="1600"/>
                                    <m:t>_</m:t>
                                  </m:r>
                                  <m:r>
                                    <m:rPr>
                                      <m:nor/>
                                    </m:rPr>
                                    <a:rPr lang="en-US" sz="1600"/>
                                    <m:t>IDX</m:t>
                                  </m:r>
                                </m:e>
                                <m:sub>
                                  <m:r>
                                    <m:rPr>
                                      <m:nor/>
                                    </m:rPr>
                                    <a:rPr lang="en-US" sz="1600"/>
                                    <m:t>t</m:t>
                                  </m:r>
                                </m:sub>
                              </m:sSub>
                            </m:num>
                            <m:den>
                              <m:sSub>
                                <m:sSubPr>
                                  <m:ctrlPr>
                                    <a:rPr lang="en-GB" sz="1600" i="1">
                                      <a:latin typeface="Cambria Math"/>
                                    </a:rPr>
                                  </m:ctrlPr>
                                </m:sSubPr>
                                <m:e>
                                  <m:r>
                                    <m:rPr>
                                      <m:nor/>
                                    </m:rPr>
                                    <a:rPr lang="en-US" sz="1600"/>
                                    <m:t>UH</m:t>
                                  </m:r>
                                  <m:r>
                                    <m:rPr>
                                      <m:nor/>
                                    </m:rPr>
                                    <a:rPr lang="en-US" sz="1600"/>
                                    <m:t>_</m:t>
                                  </m:r>
                                  <m:r>
                                    <m:rPr>
                                      <m:nor/>
                                    </m:rPr>
                                    <a:rPr lang="en-US" sz="1600"/>
                                    <m:t>IDX</m:t>
                                  </m:r>
                                </m:e>
                                <m:sub>
                                  <m:r>
                                    <m:rPr>
                                      <m:nor/>
                                    </m:rPr>
                                    <a:rPr lang="en-US" sz="1600"/>
                                    <m:t>0</m:t>
                                  </m:r>
                                </m:sub>
                              </m:sSub>
                            </m:den>
                          </m:f>
                          <m:r>
                            <m:rPr>
                              <m:nor/>
                            </m:rPr>
                            <a:rPr lang="en-US" sz="1600"/>
                            <m:t>+</m:t>
                          </m:r>
                          <m:nary>
                            <m:naryPr>
                              <m:chr m:val="∑"/>
                              <m:limLoc m:val="undOvr"/>
                              <m:ctrlPr>
                                <a:rPr lang="en-GB" sz="1600" i="1">
                                  <a:latin typeface="Cambria Math"/>
                                </a:rPr>
                              </m:ctrlPr>
                            </m:naryPr>
                            <m:sub>
                              <m:r>
                                <m:rPr>
                                  <m:nor/>
                                </m:rPr>
                                <a:rPr lang="en-US" sz="1600"/>
                                <m:t>c</m:t>
                              </m:r>
                              <m:r>
                                <m:rPr>
                                  <m:nor/>
                                </m:rPr>
                                <a:rPr lang="en-US" sz="1600"/>
                                <m:t>=1</m:t>
                              </m:r>
                            </m:sub>
                            <m:sup>
                              <m:r>
                                <m:rPr>
                                  <m:nor/>
                                </m:rPr>
                                <a:rPr lang="en-US" sz="1600"/>
                                <m:t>C</m:t>
                              </m:r>
                            </m:sup>
                            <m:e>
                              <m:sSub>
                                <m:sSubPr>
                                  <m:ctrlPr>
                                    <a:rPr lang="en-GB" sz="1600" i="1">
                                      <a:latin typeface="Cambria Math"/>
                                    </a:rPr>
                                  </m:ctrlPr>
                                </m:sSubPr>
                                <m:e>
                                  <m:r>
                                    <m:rPr>
                                      <m:nor/>
                                    </m:rPr>
                                    <a:rPr lang="en-US" sz="1600"/>
                                    <m:t>HR</m:t>
                                  </m:r>
                                </m:e>
                                <m:sub>
                                  <m:r>
                                    <m:rPr>
                                      <m:nor/>
                                    </m:rPr>
                                    <a:rPr lang="en-US" sz="1600"/>
                                    <m:t>c</m:t>
                                  </m:r>
                                  <m:r>
                                    <m:rPr>
                                      <m:nor/>
                                    </m:rPr>
                                    <a:rPr lang="en-US" sz="1600"/>
                                    <m:t>,</m:t>
                                  </m:r>
                                  <m:r>
                                    <m:rPr>
                                      <m:nor/>
                                    </m:rPr>
                                    <a:rPr lang="de-CH" sz="1600"/>
                                    <m:t>0</m:t>
                                  </m:r>
                                </m:sub>
                              </m:sSub>
                              <m:r>
                                <m:rPr>
                                  <m:nor/>
                                </m:rPr>
                                <a:rPr lang="en-US" sz="1600"/>
                                <m:t>∙</m:t>
                              </m:r>
                              <m:d>
                                <m:dPr>
                                  <m:ctrlPr>
                                    <a:rPr lang="en-GB" sz="1600" i="1">
                                      <a:latin typeface="Cambria Math"/>
                                    </a:rPr>
                                  </m:ctrlPr>
                                </m:dPr>
                                <m:e>
                                  <m:f>
                                    <m:fPr>
                                      <m:ctrlPr>
                                        <a:rPr lang="en-GB" sz="1600" i="1">
                                          <a:latin typeface="Cambria Math"/>
                                        </a:rPr>
                                      </m:ctrlPr>
                                    </m:fPr>
                                    <m:num>
                                      <m:sSub>
                                        <m:sSubPr>
                                          <m:ctrlPr>
                                            <a:rPr lang="en-GB" sz="1600" i="1">
                                              <a:latin typeface="Cambria Math"/>
                                            </a:rPr>
                                          </m:ctrlPr>
                                        </m:sSubPr>
                                        <m:e>
                                          <m:r>
                                            <m:rPr>
                                              <m:nor/>
                                            </m:rPr>
                                            <a:rPr lang="en-US" sz="1600"/>
                                            <m:t>FX</m:t>
                                          </m:r>
                                        </m:e>
                                        <m:sub>
                                          <m:r>
                                            <m:rPr>
                                              <m:nor/>
                                            </m:rPr>
                                            <a:rPr lang="en-US" sz="1600"/>
                                            <m:t>c</m:t>
                                          </m:r>
                                          <m:r>
                                            <m:rPr>
                                              <m:nor/>
                                            </m:rPr>
                                            <a:rPr lang="en-US" sz="1600"/>
                                            <m:t>,0</m:t>
                                          </m:r>
                                        </m:sub>
                                      </m:sSub>
                                    </m:num>
                                    <m:den>
                                      <m:sSub>
                                        <m:sSubPr>
                                          <m:ctrlPr>
                                            <a:rPr lang="en-GB" sz="1600" i="1">
                                              <a:latin typeface="Cambria Math"/>
                                            </a:rPr>
                                          </m:ctrlPr>
                                        </m:sSubPr>
                                        <m:e>
                                          <m:r>
                                            <m:rPr>
                                              <m:nor/>
                                            </m:rPr>
                                            <a:rPr lang="en-US" sz="1600"/>
                                            <m:t>F</m:t>
                                          </m:r>
                                          <m:r>
                                            <m:rPr>
                                              <m:nor/>
                                            </m:rPr>
                                            <a:rPr lang="de-CH" sz="1600"/>
                                            <m:t>F</m:t>
                                          </m:r>
                                        </m:e>
                                        <m:sub>
                                          <m:r>
                                            <m:rPr>
                                              <m:nor/>
                                            </m:rPr>
                                            <a:rPr lang="en-US" sz="1600"/>
                                            <m:t>c</m:t>
                                          </m:r>
                                          <m:r>
                                            <m:rPr>
                                              <m:nor/>
                                            </m:rPr>
                                            <a:rPr lang="en-US" sz="1600"/>
                                            <m:t>,</m:t>
                                          </m:r>
                                          <m:r>
                                            <m:rPr>
                                              <m:nor/>
                                            </m:rPr>
                                            <a:rPr lang="de-CH" sz="1600"/>
                                            <m:t>0</m:t>
                                          </m:r>
                                        </m:sub>
                                      </m:sSub>
                                    </m:den>
                                  </m:f>
                                  <m:r>
                                    <m:rPr>
                                      <m:nor/>
                                    </m:rPr>
                                    <a:rPr lang="en-US" sz="1600" i="1"/>
                                    <m:t>−</m:t>
                                  </m:r>
                                  <m:f>
                                    <m:fPr>
                                      <m:ctrlPr>
                                        <a:rPr lang="en-GB" sz="1600" i="1">
                                          <a:latin typeface="Cambria Math"/>
                                        </a:rPr>
                                      </m:ctrlPr>
                                    </m:fPr>
                                    <m:num>
                                      <m:sSub>
                                        <m:sSubPr>
                                          <m:ctrlPr>
                                            <a:rPr lang="en-GB" sz="1600" i="1">
                                              <a:latin typeface="Cambria Math"/>
                                            </a:rPr>
                                          </m:ctrlPr>
                                        </m:sSubPr>
                                        <m:e>
                                          <m:r>
                                            <m:rPr>
                                              <m:nor/>
                                            </m:rPr>
                                            <a:rPr lang="en-US" sz="1600"/>
                                            <m:t>FX</m:t>
                                          </m:r>
                                        </m:e>
                                        <m:sub>
                                          <m:r>
                                            <m:rPr>
                                              <m:nor/>
                                            </m:rPr>
                                            <a:rPr lang="en-US" sz="1600"/>
                                            <m:t>c</m:t>
                                          </m:r>
                                          <m:r>
                                            <m:rPr>
                                              <m:nor/>
                                            </m:rPr>
                                            <a:rPr lang="en-US" sz="1600"/>
                                            <m:t>,0</m:t>
                                          </m:r>
                                        </m:sub>
                                      </m:sSub>
                                    </m:num>
                                    <m:den>
                                      <m:sSub>
                                        <m:sSubPr>
                                          <m:ctrlPr>
                                            <a:rPr lang="en-GB" sz="1600" i="1">
                                              <a:latin typeface="Cambria Math"/>
                                            </a:rPr>
                                          </m:ctrlPr>
                                        </m:sSubPr>
                                        <m:e>
                                          <m:r>
                                            <m:rPr>
                                              <m:nor/>
                                            </m:rPr>
                                            <a:rPr lang="en-US" sz="1600"/>
                                            <m:t>IFF</m:t>
                                          </m:r>
                                        </m:e>
                                        <m:sub>
                                          <m:r>
                                            <m:rPr>
                                              <m:nor/>
                                            </m:rPr>
                                            <a:rPr lang="en-US" sz="1600"/>
                                            <m:t>c</m:t>
                                          </m:r>
                                          <m:r>
                                            <m:rPr>
                                              <m:nor/>
                                            </m:rPr>
                                            <a:rPr lang="en-US" sz="1600"/>
                                            <m:t>,</m:t>
                                          </m:r>
                                          <m:r>
                                            <m:rPr>
                                              <m:nor/>
                                            </m:rPr>
                                            <a:rPr lang="de-CH" sz="1600"/>
                                            <m:t>t</m:t>
                                          </m:r>
                                        </m:sub>
                                      </m:sSub>
                                    </m:den>
                                  </m:f>
                                </m:e>
                              </m:d>
                            </m:e>
                          </m:nary>
                        </m:e>
                      </m:d>
                    </m:oMath>
                  </m:oMathPara>
                </a14:m>
                <a:endParaRPr lang="en-GB" sz="1600" dirty="0"/>
              </a:p>
            </p:txBody>
          </p:sp>
        </mc:Choice>
        <mc:Fallback>
          <p:sp>
            <p:nvSpPr>
              <p:cNvPr id="33" name="Rectangle 32"/>
              <p:cNvSpPr>
                <a:spLocks noRot="1" noChangeAspect="1" noMove="1" noResize="1" noEditPoints="1" noAdjustHandles="1" noChangeArrowheads="1" noChangeShapeType="1" noTextEdit="1"/>
              </p:cNvSpPr>
              <p:nvPr/>
            </p:nvSpPr>
            <p:spPr>
              <a:xfrm>
                <a:off x="915944" y="5289188"/>
                <a:ext cx="5643916" cy="894027"/>
              </a:xfrm>
              <a:prstGeom prst="rect">
                <a:avLst/>
              </a:prstGeom>
              <a:blipFill rotWithShape="1">
                <a:blip r:embed="rId4"/>
                <a:stretch>
                  <a:fillRect/>
                </a:stretch>
              </a:blipFill>
            </p:spPr>
            <p:txBody>
              <a:bodyPr/>
              <a:lstStyle/>
              <a:p>
                <a:r>
                  <a:rPr lang="en-GB">
                    <a:noFill/>
                  </a:rPr>
                  <a:t> </a:t>
                </a:r>
              </a:p>
            </p:txBody>
          </p:sp>
        </mc:Fallback>
      </mc:AlternateContent>
      <p:sp>
        <p:nvSpPr>
          <p:cNvPr id="42" name="Rectangle 3"/>
          <p:cNvSpPr>
            <a:spLocks noChangeArrowheads="1"/>
          </p:cNvSpPr>
          <p:nvPr/>
        </p:nvSpPr>
        <p:spPr bwMode="auto">
          <a:xfrm>
            <a:off x="368300" y="4497940"/>
            <a:ext cx="9158288" cy="526298"/>
          </a:xfrm>
          <a:prstGeom prst="rect">
            <a:avLst/>
          </a:prstGeom>
          <a:noFill/>
          <a:ln w="9525">
            <a:noFill/>
            <a:miter lim="800000"/>
            <a:headEnd/>
            <a:tailEnd/>
          </a:ln>
        </p:spPr>
        <p:txBody>
          <a:bodyPr wrap="square" lIns="0" tIns="0" rIns="0" bIns="0">
            <a:spAutoFit/>
          </a:bodyPr>
          <a:lstStyle/>
          <a:p>
            <a:pPr marL="1587" lvl="1" algn="l">
              <a:lnSpc>
                <a:spcPct val="95000"/>
              </a:lnSpc>
              <a:spcBef>
                <a:spcPct val="0"/>
              </a:spcBef>
            </a:pPr>
            <a:r>
              <a:rPr lang="en-US" sz="1200" b="0" dirty="0" smtClean="0"/>
              <a:t>The monthly hedge formula can be derived from the daily one by:</a:t>
            </a:r>
          </a:p>
          <a:p>
            <a:pPr marL="647700" lvl="2" indent="-188913">
              <a:lnSpc>
                <a:spcPct val="95000"/>
              </a:lnSpc>
              <a:spcBef>
                <a:spcPct val="0"/>
              </a:spcBef>
              <a:buFont typeface="Arial" charset="0"/>
              <a:buChar char="»"/>
            </a:pPr>
            <a:r>
              <a:rPr lang="en-US" sz="1200" dirty="0"/>
              <a:t>setting </a:t>
            </a:r>
            <a:r>
              <a:rPr lang="en-US" sz="1200" dirty="0" smtClean="0"/>
              <a:t>the notional hedged amount to 1</a:t>
            </a:r>
          </a:p>
          <a:p>
            <a:pPr marL="647700" lvl="2" indent="-188913">
              <a:lnSpc>
                <a:spcPct val="95000"/>
              </a:lnSpc>
              <a:spcBef>
                <a:spcPct val="0"/>
              </a:spcBef>
              <a:buFont typeface="Arial" charset="0"/>
              <a:buChar char="»"/>
            </a:pPr>
            <a:r>
              <a:rPr lang="en-US" sz="1200" dirty="0"/>
              <a:t>h</a:t>
            </a:r>
            <a:r>
              <a:rPr lang="en-US" sz="1200" dirty="0" smtClean="0"/>
              <a:t>olding each currency’s hedge ratio fixed at its month’s end value </a:t>
            </a:r>
            <a:endParaRPr lang="en-US" sz="1200" b="0" dirty="0" smtClean="0"/>
          </a:p>
        </p:txBody>
      </p:sp>
      <mc:AlternateContent xmlns:mc="http://schemas.openxmlformats.org/markup-compatibility/2006">
        <mc:Choice xmlns:a14="http://schemas.microsoft.com/office/drawing/2010/main" Requires="a14">
          <p:sp>
            <p:nvSpPr>
              <p:cNvPr id="26" name="Rectangle 25"/>
              <p:cNvSpPr/>
              <p:nvPr/>
            </p:nvSpPr>
            <p:spPr>
              <a:xfrm>
                <a:off x="4225620" y="6293414"/>
                <a:ext cx="2300181" cy="43813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GB" sz="1000" i="1" smtClean="0">
                              <a:solidFill>
                                <a:schemeClr val="tx2"/>
                              </a:solidFill>
                              <a:latin typeface="Cambria Math"/>
                            </a:rPr>
                          </m:ctrlPr>
                        </m:sSubPr>
                        <m:e>
                          <m:r>
                            <m:rPr>
                              <m:nor/>
                            </m:rPr>
                            <a:rPr lang="en-US" sz="1000">
                              <a:solidFill>
                                <a:schemeClr val="tx2"/>
                              </a:solidFill>
                            </a:rPr>
                            <m:t>IFF</m:t>
                          </m:r>
                        </m:e>
                        <m:sub>
                          <m:r>
                            <m:rPr>
                              <m:nor/>
                            </m:rPr>
                            <a:rPr lang="en-US" sz="1000">
                              <a:solidFill>
                                <a:schemeClr val="tx2"/>
                              </a:solidFill>
                            </a:rPr>
                            <m:t>c</m:t>
                          </m:r>
                          <m:r>
                            <m:rPr>
                              <m:nor/>
                            </m:rPr>
                            <a:rPr lang="en-US" sz="1000">
                              <a:solidFill>
                                <a:schemeClr val="tx2"/>
                              </a:solidFill>
                            </a:rPr>
                            <m:t>,</m:t>
                          </m:r>
                          <m:r>
                            <m:rPr>
                              <m:nor/>
                            </m:rPr>
                            <a:rPr lang="en-US" sz="1000">
                              <a:solidFill>
                                <a:schemeClr val="tx2"/>
                              </a:solidFill>
                            </a:rPr>
                            <m:t>t</m:t>
                          </m:r>
                        </m:sub>
                      </m:sSub>
                      <m:r>
                        <m:rPr>
                          <m:nor/>
                        </m:rPr>
                        <a:rPr lang="en-US" sz="1000">
                          <a:solidFill>
                            <a:schemeClr val="tx2"/>
                          </a:solidFill>
                        </a:rPr>
                        <m:t>=</m:t>
                      </m:r>
                      <m:sSub>
                        <m:sSubPr>
                          <m:ctrlPr>
                            <a:rPr lang="en-GB" sz="1000" i="1">
                              <a:solidFill>
                                <a:schemeClr val="tx2"/>
                              </a:solidFill>
                              <a:latin typeface="Cambria Math"/>
                            </a:rPr>
                          </m:ctrlPr>
                        </m:sSubPr>
                        <m:e>
                          <m:r>
                            <m:rPr>
                              <m:nor/>
                            </m:rPr>
                            <a:rPr lang="en-US" sz="1000">
                              <a:solidFill>
                                <a:schemeClr val="tx2"/>
                              </a:solidFill>
                            </a:rPr>
                            <m:t>FX</m:t>
                          </m:r>
                        </m:e>
                        <m:sub>
                          <m:r>
                            <m:rPr>
                              <m:nor/>
                            </m:rPr>
                            <a:rPr lang="en-US" sz="1000">
                              <a:solidFill>
                                <a:schemeClr val="tx2"/>
                              </a:solidFill>
                            </a:rPr>
                            <m:t>c</m:t>
                          </m:r>
                          <m:r>
                            <m:rPr>
                              <m:nor/>
                            </m:rPr>
                            <a:rPr lang="en-US" sz="1000">
                              <a:solidFill>
                                <a:schemeClr val="tx2"/>
                              </a:solidFill>
                            </a:rPr>
                            <m:t>,</m:t>
                          </m:r>
                          <m:r>
                            <m:rPr>
                              <m:nor/>
                            </m:rPr>
                            <a:rPr lang="en-US" sz="1000">
                              <a:solidFill>
                                <a:schemeClr val="tx2"/>
                              </a:solidFill>
                            </a:rPr>
                            <m:t>t</m:t>
                          </m:r>
                        </m:sub>
                      </m:sSub>
                      <m:r>
                        <m:rPr>
                          <m:nor/>
                        </m:rPr>
                        <a:rPr lang="en-US" sz="1000">
                          <a:solidFill>
                            <a:schemeClr val="tx2"/>
                          </a:solidFill>
                        </a:rPr>
                        <m:t>+</m:t>
                      </m:r>
                      <m:d>
                        <m:dPr>
                          <m:ctrlPr>
                            <a:rPr lang="en-GB" sz="1000" i="1">
                              <a:solidFill>
                                <a:schemeClr val="tx2"/>
                              </a:solidFill>
                              <a:latin typeface="Cambria Math"/>
                            </a:rPr>
                          </m:ctrlPr>
                        </m:dPr>
                        <m:e>
                          <m:r>
                            <m:rPr>
                              <m:nor/>
                            </m:rPr>
                            <a:rPr lang="en-US" sz="1000">
                              <a:solidFill>
                                <a:schemeClr val="tx2"/>
                              </a:solidFill>
                            </a:rPr>
                            <m:t>1</m:t>
                          </m:r>
                          <m:r>
                            <m:rPr>
                              <m:nor/>
                            </m:rPr>
                            <a:rPr lang="en-US" sz="1000" i="1">
                              <a:solidFill>
                                <a:schemeClr val="tx2"/>
                              </a:solidFill>
                            </a:rPr>
                            <m:t>−</m:t>
                          </m:r>
                          <m:f>
                            <m:fPr>
                              <m:ctrlPr>
                                <a:rPr lang="en-GB" sz="1000" i="1">
                                  <a:solidFill>
                                    <a:schemeClr val="tx2"/>
                                  </a:solidFill>
                                  <a:latin typeface="Cambria Math"/>
                                </a:rPr>
                              </m:ctrlPr>
                            </m:fPr>
                            <m:num>
                              <m:r>
                                <m:rPr>
                                  <m:nor/>
                                </m:rPr>
                                <a:rPr lang="en-US" sz="1000">
                                  <a:solidFill>
                                    <a:schemeClr val="tx2"/>
                                  </a:solidFill>
                                </a:rPr>
                                <m:t>t</m:t>
                              </m:r>
                            </m:num>
                            <m:den>
                              <m:r>
                                <m:rPr>
                                  <m:nor/>
                                </m:rPr>
                                <a:rPr lang="en-US" sz="1000">
                                  <a:solidFill>
                                    <a:schemeClr val="tx2"/>
                                  </a:solidFill>
                                </a:rPr>
                                <m:t>T</m:t>
                              </m:r>
                            </m:den>
                          </m:f>
                        </m:e>
                      </m:d>
                      <m:r>
                        <m:rPr>
                          <m:nor/>
                        </m:rPr>
                        <a:rPr lang="en-US" sz="1000">
                          <a:solidFill>
                            <a:schemeClr val="tx2"/>
                          </a:solidFill>
                        </a:rPr>
                        <m:t>∙</m:t>
                      </m:r>
                      <m:d>
                        <m:dPr>
                          <m:ctrlPr>
                            <a:rPr lang="en-GB" sz="1000" i="1">
                              <a:solidFill>
                                <a:schemeClr val="tx2"/>
                              </a:solidFill>
                              <a:latin typeface="Cambria Math"/>
                            </a:rPr>
                          </m:ctrlPr>
                        </m:dPr>
                        <m:e>
                          <m:sSub>
                            <m:sSubPr>
                              <m:ctrlPr>
                                <a:rPr lang="en-GB" sz="1000" i="1">
                                  <a:solidFill>
                                    <a:schemeClr val="tx2"/>
                                  </a:solidFill>
                                  <a:latin typeface="Cambria Math"/>
                                </a:rPr>
                              </m:ctrlPr>
                            </m:sSubPr>
                            <m:e>
                              <m:r>
                                <m:rPr>
                                  <m:nor/>
                                </m:rPr>
                                <a:rPr lang="en-US" sz="1000">
                                  <a:solidFill>
                                    <a:schemeClr val="tx2"/>
                                  </a:solidFill>
                                </a:rPr>
                                <m:t>FF</m:t>
                              </m:r>
                            </m:e>
                            <m:sub>
                              <m:r>
                                <m:rPr>
                                  <m:nor/>
                                </m:rPr>
                                <a:rPr lang="en-US" sz="1000">
                                  <a:solidFill>
                                    <a:schemeClr val="tx2"/>
                                  </a:solidFill>
                                </a:rPr>
                                <m:t>c</m:t>
                              </m:r>
                              <m:r>
                                <m:rPr>
                                  <m:nor/>
                                </m:rPr>
                                <a:rPr lang="en-US" sz="1000">
                                  <a:solidFill>
                                    <a:schemeClr val="tx2"/>
                                  </a:solidFill>
                                </a:rPr>
                                <m:t>,</m:t>
                              </m:r>
                              <m:r>
                                <m:rPr>
                                  <m:nor/>
                                </m:rPr>
                                <a:rPr lang="en-US" sz="1000">
                                  <a:solidFill>
                                    <a:schemeClr val="tx2"/>
                                  </a:solidFill>
                                </a:rPr>
                                <m:t>t</m:t>
                              </m:r>
                            </m:sub>
                          </m:sSub>
                          <m:r>
                            <m:rPr>
                              <m:nor/>
                            </m:rPr>
                            <a:rPr lang="en-US" sz="1000" i="1">
                              <a:solidFill>
                                <a:schemeClr val="tx2"/>
                              </a:solidFill>
                            </a:rPr>
                            <m:t>−</m:t>
                          </m:r>
                          <m:sSub>
                            <m:sSubPr>
                              <m:ctrlPr>
                                <a:rPr lang="en-GB" sz="1000" i="1">
                                  <a:solidFill>
                                    <a:schemeClr val="tx2"/>
                                  </a:solidFill>
                                  <a:latin typeface="Cambria Math"/>
                                </a:rPr>
                              </m:ctrlPr>
                            </m:sSubPr>
                            <m:e>
                              <m:r>
                                <m:rPr>
                                  <m:nor/>
                                </m:rPr>
                                <a:rPr lang="en-US" sz="1000">
                                  <a:solidFill>
                                    <a:schemeClr val="tx2"/>
                                  </a:solidFill>
                                </a:rPr>
                                <m:t>FX</m:t>
                              </m:r>
                            </m:e>
                            <m:sub>
                              <m:r>
                                <m:rPr>
                                  <m:nor/>
                                </m:rPr>
                                <a:rPr lang="en-US" sz="1000">
                                  <a:solidFill>
                                    <a:schemeClr val="tx2"/>
                                  </a:solidFill>
                                </a:rPr>
                                <m:t>c</m:t>
                              </m:r>
                              <m:r>
                                <m:rPr>
                                  <m:nor/>
                                </m:rPr>
                                <a:rPr lang="en-US" sz="1000">
                                  <a:solidFill>
                                    <a:schemeClr val="tx2"/>
                                  </a:solidFill>
                                </a:rPr>
                                <m:t>,</m:t>
                              </m:r>
                              <m:r>
                                <m:rPr>
                                  <m:nor/>
                                </m:rPr>
                                <a:rPr lang="en-US" sz="1000">
                                  <a:solidFill>
                                    <a:schemeClr val="tx2"/>
                                  </a:solidFill>
                                </a:rPr>
                                <m:t>t</m:t>
                              </m:r>
                            </m:sub>
                          </m:sSub>
                        </m:e>
                      </m:d>
                    </m:oMath>
                  </m:oMathPara>
                </a14:m>
                <a:endParaRPr lang="en-GB" sz="1000" dirty="0">
                  <a:solidFill>
                    <a:schemeClr val="tx2"/>
                  </a:solidFill>
                </a:endParaRPr>
              </a:p>
            </p:txBody>
          </p:sp>
        </mc:Choice>
        <mc:Fallback>
          <p:sp>
            <p:nvSpPr>
              <p:cNvPr id="26" name="Rectangle 25"/>
              <p:cNvSpPr>
                <a:spLocks noRot="1" noChangeAspect="1" noMove="1" noResize="1" noEditPoints="1" noAdjustHandles="1" noChangeArrowheads="1" noChangeShapeType="1" noTextEdit="1"/>
              </p:cNvSpPr>
              <p:nvPr/>
            </p:nvSpPr>
            <p:spPr>
              <a:xfrm>
                <a:off x="4225620" y="6293414"/>
                <a:ext cx="2300181" cy="438133"/>
              </a:xfrm>
              <a:prstGeom prst="rect">
                <a:avLst/>
              </a:prstGeom>
              <a:blipFill rotWithShape="1">
                <a:blip r:embed="rId5"/>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25259585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solidFill>
                  <a:srgbClr val="009EE0"/>
                </a:solidFill>
              </a:rPr>
              <a:t>6. Showcase: EURO STOXX 50 CHF hedged</a:t>
            </a:r>
            <a:endParaRPr lang="en-US" dirty="0">
              <a:solidFill>
                <a:schemeClr val="accent5"/>
              </a:solidFill>
            </a:endParaRPr>
          </a:p>
        </p:txBody>
      </p:sp>
    </p:spTree>
    <p:extLst>
      <p:ext uri="{BB962C8B-B14F-4D97-AF65-F5344CB8AC3E}">
        <p14:creationId xmlns:p14="http://schemas.microsoft.com/office/powerpoint/2010/main" val="21823459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2"/>
          <p:cNvSpPr>
            <a:spLocks noGrp="1" noChangeArrowheads="1"/>
          </p:cNvSpPr>
          <p:nvPr>
            <p:ph type="title"/>
          </p:nvPr>
        </p:nvSpPr>
        <p:spPr/>
        <p:txBody>
          <a:bodyPr/>
          <a:lstStyle/>
          <a:p>
            <a:r>
              <a:rPr lang="en-US" dirty="0" smtClean="0"/>
              <a:t>Daily vs. monthly hedging matters in terms of timeliness and accuracy, less for long-term returns </a:t>
            </a:r>
            <a:r>
              <a:rPr lang="en-US" baseline="30000" dirty="0" smtClean="0"/>
              <a:t>1)</a:t>
            </a:r>
            <a:r>
              <a:rPr lang="en-US" dirty="0" smtClean="0"/>
              <a:t> </a:t>
            </a:r>
          </a:p>
        </p:txBody>
      </p:sp>
      <p:sp>
        <p:nvSpPr>
          <p:cNvPr id="4102" name="Rectangle 2"/>
          <p:cNvSpPr>
            <a:spLocks noChangeArrowheads="1"/>
          </p:cNvSpPr>
          <p:nvPr/>
        </p:nvSpPr>
        <p:spPr bwMode="auto">
          <a:xfrm>
            <a:off x="368302"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400" b="1" dirty="0" smtClean="0">
                <a:solidFill>
                  <a:schemeClr val="bg1"/>
                </a:solidFill>
              </a:rPr>
              <a:t>EURO STOXX 50 GR CHF HEDGED</a:t>
            </a:r>
            <a:endParaRPr lang="en-US" sz="1400" b="1" dirty="0">
              <a:solidFill>
                <a:schemeClr val="bg1"/>
              </a:solidFill>
            </a:endParaRPr>
          </a:p>
        </p:txBody>
      </p:sp>
      <p:sp>
        <p:nvSpPr>
          <p:cNvPr id="4103" name="Rectangle 2"/>
          <p:cNvSpPr>
            <a:spLocks noChangeArrowheads="1"/>
          </p:cNvSpPr>
          <p:nvPr/>
        </p:nvSpPr>
        <p:spPr bwMode="auto">
          <a:xfrm>
            <a:off x="5167314"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400" b="1" dirty="0" smtClean="0">
                <a:solidFill>
                  <a:schemeClr val="bg1"/>
                </a:solidFill>
              </a:rPr>
              <a:t>DIFFERENTIAL RETURNS: DAILY vs. MONTHLY</a:t>
            </a:r>
            <a:endParaRPr lang="en-US" sz="1400" b="1" dirty="0">
              <a:solidFill>
                <a:schemeClr val="bg1"/>
              </a:solidFill>
            </a:endParaRPr>
          </a:p>
        </p:txBody>
      </p:sp>
      <p:graphicFrame>
        <p:nvGraphicFramePr>
          <p:cNvPr id="130" name="Object 6"/>
          <p:cNvGraphicFramePr>
            <a:graphicFrameLocks/>
          </p:cNvGraphicFramePr>
          <p:nvPr>
            <p:extLst>
              <p:ext uri="{D42A27DB-BD31-4B8C-83A1-F6EECF244321}">
                <p14:modId xmlns:p14="http://schemas.microsoft.com/office/powerpoint/2010/main" val="1022061451"/>
              </p:ext>
            </p:extLst>
          </p:nvPr>
        </p:nvGraphicFramePr>
        <p:xfrm>
          <a:off x="5163312" y="2185045"/>
          <a:ext cx="4361689" cy="3200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Object 6"/>
          <p:cNvGraphicFramePr>
            <a:graphicFrameLocks/>
          </p:cNvGraphicFramePr>
          <p:nvPr>
            <p:extLst>
              <p:ext uri="{D42A27DB-BD31-4B8C-83A1-F6EECF244321}">
                <p14:modId xmlns:p14="http://schemas.microsoft.com/office/powerpoint/2010/main" val="1228537517"/>
              </p:ext>
            </p:extLst>
          </p:nvPr>
        </p:nvGraphicFramePr>
        <p:xfrm>
          <a:off x="368301" y="2185045"/>
          <a:ext cx="4361689" cy="3200400"/>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5"/>
          <p:cNvGrpSpPr>
            <a:grpSpLocks/>
          </p:cNvGrpSpPr>
          <p:nvPr/>
        </p:nvGrpSpPr>
        <p:grpSpPr bwMode="auto">
          <a:xfrm>
            <a:off x="368302" y="5666520"/>
            <a:ext cx="1017935" cy="153987"/>
            <a:chOff x="176" y="3893"/>
            <a:chExt cx="592" cy="97"/>
          </a:xfrm>
        </p:grpSpPr>
        <p:sp>
          <p:nvSpPr>
            <p:cNvPr id="23" name="Rectangle 6"/>
            <p:cNvSpPr>
              <a:spLocks noChangeArrowheads="1"/>
            </p:cNvSpPr>
            <p:nvPr/>
          </p:nvSpPr>
          <p:spPr bwMode="auto">
            <a:xfrm>
              <a:off x="176" y="3896"/>
              <a:ext cx="136" cy="91"/>
            </a:xfrm>
            <a:prstGeom prst="rect">
              <a:avLst/>
            </a:prstGeom>
            <a:solidFill>
              <a:schemeClr val="accent1"/>
            </a:solidFill>
            <a:ln w="9525" algn="ctr">
              <a:solidFill>
                <a:schemeClr val="accent1"/>
              </a:solidFill>
              <a:miter lim="800000"/>
              <a:headEnd/>
              <a:tailEnd/>
            </a:ln>
          </p:spPr>
          <p:txBody>
            <a:bodyPr wrap="none" lIns="0" tIns="0" rIns="0" bIns="0" anchor="ctr"/>
            <a:lstStyle/>
            <a:p>
              <a:pPr>
                <a:spcBef>
                  <a:spcPct val="0"/>
                </a:spcBef>
              </a:pPr>
              <a:endParaRPr lang="en-US" dirty="0"/>
            </a:p>
          </p:txBody>
        </p:sp>
        <p:sp>
          <p:nvSpPr>
            <p:cNvPr id="24" name="Legend"/>
            <p:cNvSpPr txBox="1">
              <a:spLocks noChangeArrowheads="1"/>
            </p:cNvSpPr>
            <p:nvPr/>
          </p:nvSpPr>
          <p:spPr bwMode="auto">
            <a:xfrm>
              <a:off x="376" y="3893"/>
              <a:ext cx="392" cy="97"/>
            </a:xfrm>
            <a:prstGeom prst="rect">
              <a:avLst/>
            </a:prstGeom>
            <a:noFill/>
            <a:ln w="9525" algn="ctr">
              <a:noFill/>
              <a:miter lim="800000"/>
              <a:headEnd/>
              <a:tailEnd/>
            </a:ln>
          </p:spPr>
          <p:txBody>
            <a:bodyPr wrap="none" lIns="0" tIns="0" rIns="0" bIns="0" anchor="b">
              <a:spAutoFit/>
            </a:bodyPr>
            <a:lstStyle/>
            <a:p>
              <a:pPr>
                <a:spcBef>
                  <a:spcPct val="0"/>
                </a:spcBef>
              </a:pPr>
              <a:r>
                <a:rPr lang="en-US" sz="1000" dirty="0" smtClean="0"/>
                <a:t>Daily hedge</a:t>
              </a:r>
              <a:endParaRPr lang="en-US" sz="1000" dirty="0"/>
            </a:p>
          </p:txBody>
        </p:sp>
      </p:grpSp>
      <p:grpSp>
        <p:nvGrpSpPr>
          <p:cNvPr id="25" name="Group 8"/>
          <p:cNvGrpSpPr>
            <a:grpSpLocks/>
          </p:cNvGrpSpPr>
          <p:nvPr/>
        </p:nvGrpSpPr>
        <p:grpSpPr bwMode="auto">
          <a:xfrm>
            <a:off x="2270234" y="5666520"/>
            <a:ext cx="1178582" cy="153987"/>
            <a:chOff x="176" y="3893"/>
            <a:chExt cx="685" cy="97"/>
          </a:xfrm>
        </p:grpSpPr>
        <p:sp>
          <p:nvSpPr>
            <p:cNvPr id="26" name="Rectangle 9"/>
            <p:cNvSpPr>
              <a:spLocks noChangeArrowheads="1"/>
            </p:cNvSpPr>
            <p:nvPr/>
          </p:nvSpPr>
          <p:spPr bwMode="auto">
            <a:xfrm>
              <a:off x="17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pPr>
                <a:spcBef>
                  <a:spcPct val="0"/>
                </a:spcBef>
              </a:pPr>
              <a:endParaRPr lang="en-US" dirty="0"/>
            </a:p>
          </p:txBody>
        </p:sp>
        <p:sp>
          <p:nvSpPr>
            <p:cNvPr id="27" name="Legend"/>
            <p:cNvSpPr txBox="1">
              <a:spLocks noChangeArrowheads="1"/>
            </p:cNvSpPr>
            <p:nvPr/>
          </p:nvSpPr>
          <p:spPr bwMode="auto">
            <a:xfrm>
              <a:off x="376" y="3893"/>
              <a:ext cx="485" cy="97"/>
            </a:xfrm>
            <a:prstGeom prst="rect">
              <a:avLst/>
            </a:prstGeom>
            <a:noFill/>
            <a:ln w="9525" algn="ctr">
              <a:noFill/>
              <a:miter lim="800000"/>
              <a:headEnd/>
              <a:tailEnd/>
            </a:ln>
          </p:spPr>
          <p:txBody>
            <a:bodyPr wrap="none" lIns="0" tIns="0" rIns="0" bIns="0" anchor="b">
              <a:spAutoFit/>
            </a:bodyPr>
            <a:lstStyle/>
            <a:p>
              <a:pPr>
                <a:spcBef>
                  <a:spcPct val="0"/>
                </a:spcBef>
              </a:pPr>
              <a:r>
                <a:rPr lang="en-US" sz="1000" dirty="0" smtClean="0"/>
                <a:t>Monthly hedge</a:t>
              </a:r>
              <a:endParaRPr lang="en-US" sz="1000" dirty="0"/>
            </a:p>
          </p:txBody>
        </p:sp>
      </p:grpSp>
      <p:sp>
        <p:nvSpPr>
          <p:cNvPr id="16" name="Text Placeholder 1"/>
          <p:cNvSpPr>
            <a:spLocks noGrp="1"/>
          </p:cNvSpPr>
          <p:nvPr>
            <p:ph type="body" sz="quarter" idx="12"/>
          </p:nvPr>
        </p:nvSpPr>
        <p:spPr>
          <a:xfrm>
            <a:off x="1704043" y="6444503"/>
            <a:ext cx="7410620" cy="171450"/>
          </a:xfrm>
        </p:spPr>
        <p:txBody>
          <a:bodyPr/>
          <a:lstStyle/>
          <a:p>
            <a:r>
              <a:rPr lang="en-US" dirty="0" smtClean="0"/>
              <a:t>Based on back-test displayed; different behaviors may be observed with other time-series.</a:t>
            </a:r>
            <a:endParaRPr lang="en-US" dirty="0"/>
          </a:p>
        </p:txBody>
      </p:sp>
    </p:spTree>
    <p:extLst>
      <p:ext uri="{BB962C8B-B14F-4D97-AF65-F5344CB8AC3E}">
        <p14:creationId xmlns:p14="http://schemas.microsoft.com/office/powerpoint/2010/main" val="26603336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036" y="1304120"/>
            <a:ext cx="9672963" cy="4403867"/>
          </a:xfrm>
          <a:prstGeom prst="rect">
            <a:avLst/>
          </a:prstGeom>
          <a:solidFill>
            <a:srgbClr val="FFFFFF"/>
          </a:solidFill>
          <a:ln w="9525" algn="ctr">
            <a:noFill/>
            <a:miter lim="800000"/>
            <a:headEnd/>
            <a:tailEnd/>
          </a:ln>
          <a:extLst/>
        </p:spPr>
      </p:pic>
      <p:sp>
        <p:nvSpPr>
          <p:cNvPr id="18435" name="Rectangle 3"/>
          <p:cNvSpPr>
            <a:spLocks noGrp="1" noChangeArrowheads="1"/>
          </p:cNvSpPr>
          <p:nvPr>
            <p:ph type="title"/>
          </p:nvPr>
        </p:nvSpPr>
        <p:spPr/>
        <p:txBody>
          <a:bodyPr/>
          <a:lstStyle/>
          <a:p>
            <a:pPr eaLnBrk="1" hangingPunct="1"/>
            <a:r>
              <a:rPr lang="en-US" dirty="0" smtClean="0"/>
              <a:t>STOXX offices</a:t>
            </a:r>
          </a:p>
        </p:txBody>
      </p:sp>
      <p:sp>
        <p:nvSpPr>
          <p:cNvPr id="622" name="Rectangle 9"/>
          <p:cNvSpPr>
            <a:spLocks noChangeArrowheads="1"/>
          </p:cNvSpPr>
          <p:nvPr/>
        </p:nvSpPr>
        <p:spPr bwMode="auto">
          <a:xfrm>
            <a:off x="510588" y="1736558"/>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New York</a:t>
            </a:r>
          </a:p>
          <a:p>
            <a:pPr>
              <a:defRPr/>
            </a:pPr>
            <a:r>
              <a:rPr lang="en-US" sz="1200" kern="0" dirty="0">
                <a:solidFill>
                  <a:srgbClr val="000000"/>
                </a:solidFill>
              </a:rPr>
              <a:t>40 Fulton St., 5th Fl.</a:t>
            </a:r>
          </a:p>
          <a:p>
            <a:pPr>
              <a:defRPr/>
            </a:pPr>
            <a:r>
              <a:rPr lang="en-US" sz="1200" kern="0" dirty="0">
                <a:solidFill>
                  <a:srgbClr val="000000"/>
                </a:solidFill>
              </a:rPr>
              <a:t>New York, NY 10038</a:t>
            </a:r>
          </a:p>
          <a:p>
            <a:pPr>
              <a:defRPr/>
            </a:pPr>
            <a:r>
              <a:rPr lang="en-US" sz="1200" kern="0" dirty="0">
                <a:solidFill>
                  <a:srgbClr val="000000"/>
                </a:solidFill>
              </a:rPr>
              <a:t>United </a:t>
            </a:r>
            <a:r>
              <a:rPr lang="en-US" sz="1200" kern="0" dirty="0" smtClean="0">
                <a:solidFill>
                  <a:srgbClr val="000000"/>
                </a:solidFill>
              </a:rPr>
              <a:t>States</a:t>
            </a:r>
          </a:p>
          <a:p>
            <a:pPr>
              <a:defRPr/>
            </a:pPr>
            <a:r>
              <a:rPr lang="de-CH" sz="1200" kern="0" dirty="0">
                <a:solidFill>
                  <a:srgbClr val="000000"/>
                </a:solidFill>
              </a:rPr>
              <a:t>P +1 212 669 6426</a:t>
            </a:r>
            <a:endParaRPr lang="de-CH" sz="1200" kern="0" dirty="0" smtClean="0">
              <a:solidFill>
                <a:srgbClr val="000000"/>
              </a:solidFill>
            </a:endParaRPr>
          </a:p>
          <a:p>
            <a:pPr algn="just">
              <a:defRPr/>
            </a:pPr>
            <a:endParaRPr lang="en-US" sz="1400" b="1" kern="0" dirty="0" smtClean="0">
              <a:solidFill>
                <a:srgbClr val="000000"/>
              </a:solidFill>
            </a:endParaRPr>
          </a:p>
        </p:txBody>
      </p:sp>
      <p:sp>
        <p:nvSpPr>
          <p:cNvPr id="623" name="Rectangle 9"/>
          <p:cNvSpPr>
            <a:spLocks noChangeArrowheads="1"/>
          </p:cNvSpPr>
          <p:nvPr/>
        </p:nvSpPr>
        <p:spPr bwMode="auto">
          <a:xfrm>
            <a:off x="2754509" y="1736558"/>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London</a:t>
            </a:r>
          </a:p>
          <a:p>
            <a:pPr eaLnBrk="0" hangingPunct="0">
              <a:spcBef>
                <a:spcPct val="0"/>
              </a:spcBef>
            </a:pPr>
            <a:r>
              <a:rPr lang="en-US" sz="1200" dirty="0">
                <a:solidFill>
                  <a:srgbClr val="000000"/>
                </a:solidFill>
                <a:ea typeface="ＭＳ Ｐゴシック" pitchFamily="34" charset="-128"/>
              </a:rPr>
              <a:t>11 </a:t>
            </a:r>
            <a:r>
              <a:rPr lang="en-US" sz="1200" dirty="0" err="1">
                <a:solidFill>
                  <a:srgbClr val="000000"/>
                </a:solidFill>
                <a:ea typeface="ＭＳ Ｐゴシック" pitchFamily="34" charset="-128"/>
              </a:rPr>
              <a:t>Westferry</a:t>
            </a:r>
            <a:r>
              <a:rPr lang="en-US" sz="1200" dirty="0">
                <a:solidFill>
                  <a:srgbClr val="000000"/>
                </a:solidFill>
                <a:ea typeface="ＭＳ Ｐゴシック" pitchFamily="34" charset="-128"/>
              </a:rPr>
              <a:t> Circus, 1st floor</a:t>
            </a:r>
          </a:p>
          <a:p>
            <a:pPr eaLnBrk="0" hangingPunct="0">
              <a:spcBef>
                <a:spcPct val="0"/>
              </a:spcBef>
            </a:pPr>
            <a:r>
              <a:rPr lang="en-US" sz="1200" dirty="0">
                <a:solidFill>
                  <a:srgbClr val="000000"/>
                </a:solidFill>
                <a:ea typeface="ＭＳ Ｐゴシック" pitchFamily="34" charset="-128"/>
              </a:rPr>
              <a:t>Canary Wharf</a:t>
            </a:r>
          </a:p>
          <a:p>
            <a:pPr eaLnBrk="0" hangingPunct="0">
              <a:spcBef>
                <a:spcPct val="0"/>
              </a:spcBef>
            </a:pPr>
            <a:r>
              <a:rPr lang="en-US" sz="1200" dirty="0">
                <a:solidFill>
                  <a:srgbClr val="000000"/>
                </a:solidFill>
                <a:ea typeface="ＭＳ Ｐゴシック" pitchFamily="34" charset="-128"/>
              </a:rPr>
              <a:t>London E14 4HE</a:t>
            </a:r>
          </a:p>
          <a:p>
            <a:pPr eaLnBrk="0" hangingPunct="0">
              <a:spcBef>
                <a:spcPct val="0"/>
              </a:spcBef>
            </a:pPr>
            <a:r>
              <a:rPr lang="en-US" sz="1200" dirty="0">
                <a:solidFill>
                  <a:srgbClr val="000000"/>
                </a:solidFill>
                <a:ea typeface="ＭＳ Ｐゴシック" pitchFamily="34" charset="-128"/>
              </a:rPr>
              <a:t>United </a:t>
            </a:r>
            <a:r>
              <a:rPr lang="en-US" sz="1200" dirty="0" smtClean="0">
                <a:solidFill>
                  <a:srgbClr val="000000"/>
                </a:solidFill>
                <a:ea typeface="ＭＳ Ｐゴシック" pitchFamily="34" charset="-128"/>
              </a:rPr>
              <a:t>Kingdom</a:t>
            </a:r>
          </a:p>
          <a:p>
            <a:pPr eaLnBrk="0" hangingPunct="0">
              <a:spcBef>
                <a:spcPct val="0"/>
              </a:spcBef>
            </a:pPr>
            <a:r>
              <a:rPr lang="en-US" sz="1200" dirty="0">
                <a:solidFill>
                  <a:srgbClr val="000000"/>
                </a:solidFill>
                <a:ea typeface="ＭＳ Ｐゴシック" pitchFamily="34" charset="-128"/>
              </a:rPr>
              <a:t>P +44 (0</a:t>
            </a:r>
            <a:r>
              <a:rPr lang="en-US" sz="1200" dirty="0" smtClean="0">
                <a:solidFill>
                  <a:srgbClr val="000000"/>
                </a:solidFill>
                <a:ea typeface="ＭＳ Ｐゴシック" pitchFamily="34" charset="-128"/>
              </a:rPr>
              <a:t>) 207 </a:t>
            </a:r>
            <a:r>
              <a:rPr lang="en-US" sz="1200" dirty="0">
                <a:solidFill>
                  <a:srgbClr val="000000"/>
                </a:solidFill>
                <a:ea typeface="ＭＳ Ｐゴシック" pitchFamily="34" charset="-128"/>
              </a:rPr>
              <a:t>862 7680</a:t>
            </a:r>
          </a:p>
          <a:p>
            <a:pPr algn="just">
              <a:defRPr/>
            </a:pPr>
            <a:endParaRPr lang="en-US" sz="1400" b="1" kern="0" dirty="0" smtClean="0">
              <a:solidFill>
                <a:srgbClr val="000000"/>
              </a:solidFill>
            </a:endParaRPr>
          </a:p>
        </p:txBody>
      </p:sp>
      <p:sp>
        <p:nvSpPr>
          <p:cNvPr id="624" name="Rectangle 9"/>
          <p:cNvSpPr>
            <a:spLocks noChangeArrowheads="1"/>
          </p:cNvSpPr>
          <p:nvPr/>
        </p:nvSpPr>
        <p:spPr bwMode="auto">
          <a:xfrm>
            <a:off x="4998430" y="1736558"/>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Stockholm</a:t>
            </a:r>
          </a:p>
          <a:p>
            <a:pPr eaLnBrk="0" hangingPunct="0">
              <a:spcBef>
                <a:spcPct val="0"/>
              </a:spcBef>
            </a:pPr>
            <a:r>
              <a:rPr lang="de-DE" sz="1200" dirty="0">
                <a:solidFill>
                  <a:srgbClr val="000000"/>
                </a:solidFill>
                <a:ea typeface="ＭＳ Ｐゴシック" pitchFamily="34" charset="-128"/>
              </a:rPr>
              <a:t>Level 55</a:t>
            </a:r>
          </a:p>
          <a:p>
            <a:pPr eaLnBrk="0" hangingPunct="0">
              <a:spcBef>
                <a:spcPct val="0"/>
              </a:spcBef>
            </a:pPr>
            <a:r>
              <a:rPr lang="de-DE" sz="1200" dirty="0" err="1">
                <a:solidFill>
                  <a:srgbClr val="000000"/>
                </a:solidFill>
                <a:ea typeface="ＭＳ Ｐゴシック" pitchFamily="34" charset="-128"/>
              </a:rPr>
              <a:t>Kungsgatan</a:t>
            </a:r>
            <a:r>
              <a:rPr lang="de-DE" sz="1200" dirty="0">
                <a:solidFill>
                  <a:srgbClr val="000000"/>
                </a:solidFill>
                <a:ea typeface="ＭＳ Ｐゴシック" pitchFamily="34" charset="-128"/>
              </a:rPr>
              <a:t> 35</a:t>
            </a:r>
          </a:p>
          <a:p>
            <a:pPr eaLnBrk="0" hangingPunct="0">
              <a:spcBef>
                <a:spcPct val="0"/>
              </a:spcBef>
            </a:pPr>
            <a:r>
              <a:rPr lang="de-DE" sz="1200" dirty="0">
                <a:solidFill>
                  <a:srgbClr val="000000"/>
                </a:solidFill>
                <a:ea typeface="ＭＳ Ｐゴシック" pitchFamily="34" charset="-128"/>
              </a:rPr>
              <a:t>111 56 Stockholm</a:t>
            </a:r>
          </a:p>
          <a:p>
            <a:pPr eaLnBrk="0" hangingPunct="0">
              <a:spcBef>
                <a:spcPct val="0"/>
              </a:spcBef>
            </a:pPr>
            <a:r>
              <a:rPr lang="de-DE" sz="1200" dirty="0" err="1" smtClean="0">
                <a:solidFill>
                  <a:srgbClr val="000000"/>
                </a:solidFill>
                <a:ea typeface="ＭＳ Ｐゴシック" pitchFamily="34" charset="-128"/>
              </a:rPr>
              <a:t>Sweden</a:t>
            </a:r>
            <a:endParaRPr lang="de-DE" sz="1200" dirty="0" smtClean="0">
              <a:solidFill>
                <a:srgbClr val="000000"/>
              </a:solidFill>
              <a:ea typeface="ＭＳ Ｐゴシック" pitchFamily="34" charset="-128"/>
            </a:endParaRPr>
          </a:p>
          <a:p>
            <a:pPr eaLnBrk="0" hangingPunct="0">
              <a:spcBef>
                <a:spcPct val="0"/>
              </a:spcBef>
            </a:pPr>
            <a:r>
              <a:rPr lang="en-US" sz="1200" dirty="0">
                <a:solidFill>
                  <a:srgbClr val="000000"/>
                </a:solidFill>
                <a:ea typeface="ＭＳ Ｐゴシック" pitchFamily="34" charset="-128"/>
              </a:rPr>
              <a:t>P +46 (0</a:t>
            </a:r>
            <a:r>
              <a:rPr lang="en-US" sz="1200" dirty="0" smtClean="0">
                <a:solidFill>
                  <a:srgbClr val="000000"/>
                </a:solidFill>
                <a:ea typeface="ＭＳ Ｐゴシック" pitchFamily="34" charset="-128"/>
              </a:rPr>
              <a:t>) 8 </a:t>
            </a:r>
            <a:r>
              <a:rPr lang="en-US" sz="1200" dirty="0">
                <a:solidFill>
                  <a:srgbClr val="000000"/>
                </a:solidFill>
                <a:ea typeface="ＭＳ Ｐゴシック" pitchFamily="34" charset="-128"/>
              </a:rPr>
              <a:t>4600 6090 </a:t>
            </a:r>
          </a:p>
          <a:p>
            <a:pPr algn="just">
              <a:defRPr/>
            </a:pPr>
            <a:endParaRPr lang="en-US" sz="1400" b="1" kern="0" dirty="0" smtClean="0">
              <a:solidFill>
                <a:srgbClr val="000000"/>
              </a:solidFill>
            </a:endParaRPr>
          </a:p>
        </p:txBody>
      </p:sp>
      <p:sp>
        <p:nvSpPr>
          <p:cNvPr id="625" name="Rectangle 9"/>
          <p:cNvSpPr>
            <a:spLocks noChangeArrowheads="1"/>
          </p:cNvSpPr>
          <p:nvPr/>
        </p:nvSpPr>
        <p:spPr bwMode="auto">
          <a:xfrm>
            <a:off x="7242352" y="1736558"/>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Hong Kong</a:t>
            </a:r>
          </a:p>
          <a:p>
            <a:pPr eaLnBrk="0" hangingPunct="0">
              <a:spcBef>
                <a:spcPct val="0"/>
              </a:spcBef>
            </a:pPr>
            <a:r>
              <a:rPr lang="de-DE" sz="1200" dirty="0" err="1">
                <a:solidFill>
                  <a:srgbClr val="000000"/>
                </a:solidFill>
                <a:ea typeface="ＭＳ Ｐゴシック" pitchFamily="34" charset="-128"/>
              </a:rPr>
              <a:t>Room</a:t>
            </a:r>
            <a:r>
              <a:rPr lang="de-DE" sz="1200" dirty="0">
                <a:solidFill>
                  <a:srgbClr val="000000"/>
                </a:solidFill>
                <a:ea typeface="ＭＳ Ｐゴシック" pitchFamily="34" charset="-128"/>
              </a:rPr>
              <a:t> 1101, 11/F</a:t>
            </a:r>
          </a:p>
          <a:p>
            <a:pPr eaLnBrk="0" hangingPunct="0">
              <a:spcBef>
                <a:spcPct val="0"/>
              </a:spcBef>
            </a:pPr>
            <a:r>
              <a:rPr lang="de-DE" sz="1200" dirty="0">
                <a:solidFill>
                  <a:srgbClr val="000000"/>
                </a:solidFill>
                <a:ea typeface="ＭＳ Ｐゴシック" pitchFamily="34" charset="-128"/>
              </a:rPr>
              <a:t>1 </a:t>
            </a:r>
            <a:r>
              <a:rPr lang="de-DE" sz="1200" dirty="0" err="1">
                <a:solidFill>
                  <a:srgbClr val="000000"/>
                </a:solidFill>
                <a:ea typeface="ＭＳ Ｐゴシック" pitchFamily="34" charset="-128"/>
              </a:rPr>
              <a:t>Duddell</a:t>
            </a:r>
            <a:r>
              <a:rPr lang="de-DE" sz="1200" dirty="0">
                <a:solidFill>
                  <a:srgbClr val="000000"/>
                </a:solidFill>
                <a:ea typeface="ＭＳ Ｐゴシック" pitchFamily="34" charset="-128"/>
              </a:rPr>
              <a:t> Street, Central</a:t>
            </a:r>
          </a:p>
          <a:p>
            <a:pPr eaLnBrk="0" hangingPunct="0">
              <a:spcBef>
                <a:spcPct val="0"/>
              </a:spcBef>
            </a:pPr>
            <a:r>
              <a:rPr lang="de-DE" sz="1200" dirty="0">
                <a:solidFill>
                  <a:srgbClr val="000000"/>
                </a:solidFill>
                <a:ea typeface="ＭＳ Ｐゴシック" pitchFamily="34" charset="-128"/>
              </a:rPr>
              <a:t>Hong </a:t>
            </a:r>
            <a:r>
              <a:rPr lang="de-DE" sz="1200" dirty="0" smtClean="0">
                <a:solidFill>
                  <a:srgbClr val="000000"/>
                </a:solidFill>
                <a:ea typeface="ＭＳ Ｐゴシック" pitchFamily="34" charset="-128"/>
              </a:rPr>
              <a:t>Kong</a:t>
            </a:r>
          </a:p>
          <a:p>
            <a:pPr eaLnBrk="0" hangingPunct="0">
              <a:spcBef>
                <a:spcPct val="0"/>
              </a:spcBef>
            </a:pPr>
            <a:r>
              <a:rPr lang="en-US" sz="1200" dirty="0">
                <a:solidFill>
                  <a:srgbClr val="000000"/>
                </a:solidFill>
                <a:ea typeface="ＭＳ Ｐゴシック" pitchFamily="34" charset="-128"/>
              </a:rPr>
              <a:t>P +852 6307 9316</a:t>
            </a:r>
          </a:p>
        </p:txBody>
      </p:sp>
      <p:sp>
        <p:nvSpPr>
          <p:cNvPr id="626" name="Rectangle 9"/>
          <p:cNvSpPr>
            <a:spLocks noChangeArrowheads="1"/>
          </p:cNvSpPr>
          <p:nvPr/>
        </p:nvSpPr>
        <p:spPr bwMode="auto">
          <a:xfrm>
            <a:off x="510586" y="3151421"/>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Madrid</a:t>
            </a:r>
          </a:p>
          <a:p>
            <a:pPr eaLnBrk="0" hangingPunct="0">
              <a:spcBef>
                <a:spcPct val="0"/>
              </a:spcBef>
            </a:pPr>
            <a:r>
              <a:rPr lang="es-ES" sz="1200" dirty="0">
                <a:solidFill>
                  <a:srgbClr val="000000"/>
                </a:solidFill>
                <a:ea typeface="ＭＳ Ｐゴシック" pitchFamily="34" charset="-128"/>
              </a:rPr>
              <a:t>Paseo de la Castellana </a:t>
            </a:r>
            <a:endParaRPr lang="es-ES" sz="1200" dirty="0" smtClean="0">
              <a:solidFill>
                <a:srgbClr val="000000"/>
              </a:solidFill>
              <a:ea typeface="ＭＳ Ｐゴシック" pitchFamily="34" charset="-128"/>
            </a:endParaRPr>
          </a:p>
          <a:p>
            <a:pPr eaLnBrk="0" hangingPunct="0">
              <a:spcBef>
                <a:spcPct val="0"/>
              </a:spcBef>
            </a:pPr>
            <a:r>
              <a:rPr lang="es-ES" sz="1200" dirty="0" smtClean="0">
                <a:solidFill>
                  <a:srgbClr val="000000"/>
                </a:solidFill>
                <a:ea typeface="ＭＳ Ｐゴシック" pitchFamily="34" charset="-128"/>
              </a:rPr>
              <a:t>40 </a:t>
            </a:r>
            <a:r>
              <a:rPr lang="es-ES" sz="1200" dirty="0">
                <a:solidFill>
                  <a:srgbClr val="000000"/>
                </a:solidFill>
                <a:ea typeface="ＭＳ Ｐゴシック" pitchFamily="34" charset="-128"/>
              </a:rPr>
              <a:t>bis, planta 5</a:t>
            </a:r>
          </a:p>
          <a:p>
            <a:pPr eaLnBrk="0" hangingPunct="0">
              <a:spcBef>
                <a:spcPct val="0"/>
              </a:spcBef>
            </a:pPr>
            <a:r>
              <a:rPr lang="es-ES" sz="1200" dirty="0">
                <a:solidFill>
                  <a:srgbClr val="000000"/>
                </a:solidFill>
                <a:ea typeface="ＭＳ Ｐゴシック" pitchFamily="34" charset="-128"/>
              </a:rPr>
              <a:t>28046 Madrid</a:t>
            </a:r>
          </a:p>
          <a:p>
            <a:pPr eaLnBrk="0" hangingPunct="0">
              <a:spcBef>
                <a:spcPct val="0"/>
              </a:spcBef>
            </a:pPr>
            <a:r>
              <a:rPr lang="es-ES" sz="1200" dirty="0" err="1" smtClean="0">
                <a:solidFill>
                  <a:srgbClr val="000000"/>
                </a:solidFill>
                <a:ea typeface="ＭＳ Ｐゴシック" pitchFamily="34" charset="-128"/>
              </a:rPr>
              <a:t>Spain</a:t>
            </a:r>
            <a:endParaRPr lang="es-E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P +34 </a:t>
            </a:r>
            <a:r>
              <a:rPr lang="en-US" sz="1200" dirty="0">
                <a:solidFill>
                  <a:srgbClr val="000000"/>
                </a:solidFill>
                <a:ea typeface="ＭＳ Ｐゴシック" pitchFamily="34" charset="-128"/>
              </a:rPr>
              <a:t>(0</a:t>
            </a:r>
            <a:r>
              <a:rPr lang="en-US" sz="1200" dirty="0" smtClean="0">
                <a:solidFill>
                  <a:srgbClr val="000000"/>
                </a:solidFill>
                <a:ea typeface="ＭＳ Ｐゴシック" pitchFamily="34" charset="-128"/>
              </a:rPr>
              <a:t>) 91 </a:t>
            </a:r>
            <a:r>
              <a:rPr lang="en-US" sz="1200" dirty="0">
                <a:solidFill>
                  <a:srgbClr val="000000"/>
                </a:solidFill>
                <a:ea typeface="ＭＳ Ｐゴシック" pitchFamily="34" charset="-128"/>
              </a:rPr>
              <a:t>369 1229</a:t>
            </a:r>
          </a:p>
        </p:txBody>
      </p:sp>
      <p:sp>
        <p:nvSpPr>
          <p:cNvPr id="627" name="Rectangle 9"/>
          <p:cNvSpPr>
            <a:spLocks noChangeArrowheads="1"/>
          </p:cNvSpPr>
          <p:nvPr/>
        </p:nvSpPr>
        <p:spPr bwMode="auto">
          <a:xfrm>
            <a:off x="4998430" y="3151421"/>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Frankfurt</a:t>
            </a:r>
          </a:p>
          <a:p>
            <a:pPr eaLnBrk="0" hangingPunct="0">
              <a:spcBef>
                <a:spcPct val="0"/>
              </a:spcBef>
            </a:pPr>
            <a:r>
              <a:rPr lang="de-DE" sz="1200" dirty="0" err="1">
                <a:solidFill>
                  <a:srgbClr val="000000"/>
                </a:solidFill>
                <a:ea typeface="ＭＳ Ｐゴシック" pitchFamily="34" charset="-128"/>
              </a:rPr>
              <a:t>Mergenthalerallee</a:t>
            </a:r>
            <a:r>
              <a:rPr lang="de-DE" sz="1200" dirty="0">
                <a:solidFill>
                  <a:srgbClr val="000000"/>
                </a:solidFill>
                <a:ea typeface="ＭＳ Ｐゴシック" pitchFamily="34" charset="-128"/>
              </a:rPr>
              <a:t> 61</a:t>
            </a:r>
          </a:p>
          <a:p>
            <a:pPr eaLnBrk="0" hangingPunct="0">
              <a:spcBef>
                <a:spcPct val="0"/>
              </a:spcBef>
            </a:pPr>
            <a:r>
              <a:rPr lang="de-DE" sz="1200" dirty="0">
                <a:solidFill>
                  <a:srgbClr val="000000"/>
                </a:solidFill>
                <a:ea typeface="ＭＳ Ｐゴシック" pitchFamily="34" charset="-128"/>
              </a:rPr>
              <a:t>65760 Eschborn</a:t>
            </a:r>
          </a:p>
          <a:p>
            <a:pPr eaLnBrk="0" hangingPunct="0">
              <a:spcBef>
                <a:spcPct val="0"/>
              </a:spcBef>
            </a:pPr>
            <a:r>
              <a:rPr lang="de-DE" sz="1200" dirty="0" smtClean="0">
                <a:solidFill>
                  <a:srgbClr val="000000"/>
                </a:solidFill>
                <a:ea typeface="ＭＳ Ｐゴシック" pitchFamily="34" charset="-128"/>
              </a:rPr>
              <a:t>Germany</a:t>
            </a:r>
          </a:p>
          <a:p>
            <a:pPr eaLnBrk="0" hangingPunct="0">
              <a:spcBef>
                <a:spcPct val="0"/>
              </a:spcBef>
            </a:pPr>
            <a:r>
              <a:rPr lang="en-US" sz="1200" dirty="0">
                <a:solidFill>
                  <a:srgbClr val="000000"/>
                </a:solidFill>
                <a:ea typeface="ＭＳ Ｐゴシック" pitchFamily="34" charset="-128"/>
              </a:rPr>
              <a:t>P +49 (0)69 211 0 </a:t>
            </a:r>
          </a:p>
        </p:txBody>
      </p:sp>
      <p:sp>
        <p:nvSpPr>
          <p:cNvPr id="629" name="Rectangle 9"/>
          <p:cNvSpPr>
            <a:spLocks noChangeArrowheads="1"/>
          </p:cNvSpPr>
          <p:nvPr/>
        </p:nvSpPr>
        <p:spPr bwMode="auto">
          <a:xfrm>
            <a:off x="2754509" y="3151413"/>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err="1" smtClean="0">
                <a:solidFill>
                  <a:srgbClr val="000000"/>
                </a:solidFill>
              </a:rPr>
              <a:t>Zurich</a:t>
            </a:r>
            <a:r>
              <a:rPr lang="de-CH" sz="1400" b="1" kern="0" dirty="0" smtClean="0">
                <a:solidFill>
                  <a:srgbClr val="000000"/>
                </a:solidFill>
              </a:rPr>
              <a:t> </a:t>
            </a:r>
            <a:r>
              <a:rPr lang="de-CH" sz="1400" kern="0" dirty="0" smtClean="0">
                <a:solidFill>
                  <a:srgbClr val="000000"/>
                </a:solidFill>
              </a:rPr>
              <a:t>(</a:t>
            </a:r>
            <a:r>
              <a:rPr lang="de-CH" sz="1400" kern="0" dirty="0" err="1" smtClean="0">
                <a:solidFill>
                  <a:srgbClr val="000000"/>
                </a:solidFill>
              </a:rPr>
              <a:t>headquarters</a:t>
            </a:r>
            <a:r>
              <a:rPr lang="de-CH" sz="1400" kern="0" dirty="0" smtClean="0">
                <a:solidFill>
                  <a:srgbClr val="000000"/>
                </a:solidFill>
              </a:rPr>
              <a:t>)</a:t>
            </a:r>
          </a:p>
          <a:p>
            <a:pPr eaLnBrk="0" hangingPunct="0">
              <a:spcBef>
                <a:spcPct val="0"/>
              </a:spcBef>
            </a:pPr>
            <a:r>
              <a:rPr lang="de-DE" sz="1200" dirty="0" err="1">
                <a:solidFill>
                  <a:srgbClr val="000000"/>
                </a:solidFill>
                <a:ea typeface="ＭＳ Ｐゴシック" pitchFamily="34" charset="-128"/>
              </a:rPr>
              <a:t>Brandschenkestrasse</a:t>
            </a:r>
            <a:r>
              <a:rPr lang="de-DE" sz="1200" dirty="0">
                <a:solidFill>
                  <a:srgbClr val="000000"/>
                </a:solidFill>
                <a:ea typeface="ＭＳ Ｐゴシック" pitchFamily="34" charset="-128"/>
              </a:rPr>
              <a:t> 47</a:t>
            </a:r>
          </a:p>
          <a:p>
            <a:pPr eaLnBrk="0" hangingPunct="0">
              <a:spcBef>
                <a:spcPct val="0"/>
              </a:spcBef>
            </a:pPr>
            <a:r>
              <a:rPr lang="de-DE" sz="1200" dirty="0">
                <a:solidFill>
                  <a:srgbClr val="000000"/>
                </a:solidFill>
                <a:ea typeface="ＭＳ Ｐゴシック" pitchFamily="34" charset="-128"/>
              </a:rPr>
              <a:t>8002 </a:t>
            </a:r>
            <a:r>
              <a:rPr lang="de-DE" sz="1200" dirty="0" err="1">
                <a:solidFill>
                  <a:srgbClr val="000000"/>
                </a:solidFill>
                <a:ea typeface="ＭＳ Ｐゴシック" pitchFamily="34" charset="-128"/>
              </a:rPr>
              <a:t>Zurich</a:t>
            </a:r>
            <a:endParaRPr lang="de-DE" sz="1200" dirty="0">
              <a:solidFill>
                <a:srgbClr val="000000"/>
              </a:solidFill>
              <a:ea typeface="ＭＳ Ｐゴシック" pitchFamily="34" charset="-128"/>
            </a:endParaRPr>
          </a:p>
          <a:p>
            <a:pPr eaLnBrk="0" hangingPunct="0">
              <a:spcBef>
                <a:spcPct val="0"/>
              </a:spcBef>
            </a:pPr>
            <a:r>
              <a:rPr lang="de-DE" sz="1200" dirty="0" err="1" smtClean="0">
                <a:solidFill>
                  <a:srgbClr val="000000"/>
                </a:solidFill>
                <a:ea typeface="ＭＳ Ｐゴシック" pitchFamily="34" charset="-128"/>
              </a:rPr>
              <a:t>Switzerland</a:t>
            </a:r>
            <a:endParaRPr lang="de-DE"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P +41 </a:t>
            </a:r>
            <a:r>
              <a:rPr lang="en-US" sz="1200" dirty="0">
                <a:solidFill>
                  <a:srgbClr val="000000"/>
                </a:solidFill>
                <a:ea typeface="ＭＳ Ｐゴシック" pitchFamily="34" charset="-128"/>
              </a:rPr>
              <a:t>(0</a:t>
            </a:r>
            <a:r>
              <a:rPr lang="en-US" sz="1200" dirty="0" smtClean="0">
                <a:solidFill>
                  <a:srgbClr val="000000"/>
                </a:solidFill>
                <a:ea typeface="ＭＳ Ｐゴシック" pitchFamily="34" charset="-128"/>
              </a:rPr>
              <a:t>) 58 </a:t>
            </a:r>
            <a:r>
              <a:rPr lang="en-US" sz="1200" dirty="0">
                <a:solidFill>
                  <a:srgbClr val="000000"/>
                </a:solidFill>
                <a:ea typeface="ＭＳ Ｐゴシック" pitchFamily="34" charset="-128"/>
              </a:rPr>
              <a:t>399 5300</a:t>
            </a:r>
          </a:p>
        </p:txBody>
      </p:sp>
      <p:sp>
        <p:nvSpPr>
          <p:cNvPr id="630" name="Rectangle 9"/>
          <p:cNvSpPr>
            <a:spLocks noChangeArrowheads="1"/>
          </p:cNvSpPr>
          <p:nvPr/>
        </p:nvSpPr>
        <p:spPr bwMode="auto">
          <a:xfrm>
            <a:off x="7242351" y="3151421"/>
            <a:ext cx="2075271" cy="1303200"/>
          </a:xfrm>
          <a:prstGeom prst="rect">
            <a:avLst/>
          </a:prstGeom>
          <a:solidFill>
            <a:srgbClr val="FFFFFF">
              <a:alpha val="70000"/>
            </a:srgbClr>
          </a:solidFill>
          <a:ln w="9525" algn="ctr">
            <a:solidFill>
              <a:schemeClr val="accent3"/>
            </a:solidFill>
            <a:miter lim="800000"/>
            <a:headEnd/>
            <a:tailEnd/>
          </a:ln>
        </p:spPr>
        <p:txBody>
          <a:bodyPr lIns="72000" tIns="54000" rIns="36000" bIns="54000" anchor="t" anchorCtr="0"/>
          <a:lstStyle/>
          <a:p>
            <a:pPr>
              <a:spcAft>
                <a:spcPts val="600"/>
              </a:spcAft>
              <a:defRPr/>
            </a:pPr>
            <a:r>
              <a:rPr lang="de-CH" sz="1400" b="1" kern="0" dirty="0" smtClean="0">
                <a:solidFill>
                  <a:srgbClr val="000000"/>
                </a:solidFill>
              </a:rPr>
              <a:t>Email a STOXX </a:t>
            </a:r>
            <a:r>
              <a:rPr lang="de-CH" sz="1400" b="1" kern="0" dirty="0" err="1" smtClean="0">
                <a:solidFill>
                  <a:srgbClr val="000000"/>
                </a:solidFill>
              </a:rPr>
              <a:t>representative</a:t>
            </a:r>
            <a:endParaRPr lang="de-CH" sz="1400" b="1" kern="0" dirty="0" smtClean="0">
              <a:solidFill>
                <a:srgbClr val="000000"/>
              </a:solidFill>
            </a:endParaRPr>
          </a:p>
          <a:p>
            <a:pPr eaLnBrk="0" hangingPunct="0">
              <a:spcBef>
                <a:spcPct val="0"/>
              </a:spcBef>
            </a:pPr>
            <a:r>
              <a:rPr lang="de-DE" sz="1200" dirty="0">
                <a:solidFill>
                  <a:srgbClr val="000000"/>
                </a:solidFill>
                <a:ea typeface="ＭＳ Ｐゴシック" pitchFamily="34" charset="-128"/>
              </a:rPr>
              <a:t>s</a:t>
            </a:r>
            <a:r>
              <a:rPr lang="de-DE" sz="1200" dirty="0" smtClean="0">
                <a:solidFill>
                  <a:srgbClr val="000000"/>
                </a:solidFill>
                <a:ea typeface="ＭＳ Ｐゴシック" pitchFamily="34" charset="-128"/>
              </a:rPr>
              <a:t>ales.enquiries@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23048985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1077218"/>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400" b="1" dirty="0">
                <a:solidFill>
                  <a:srgbClr val="000000"/>
                </a:solidFill>
                <a:ea typeface="ＭＳ Ｐゴシック" pitchFamily="34" charset="-128"/>
              </a:rPr>
              <a:t>Rod Jones</a:t>
            </a:r>
          </a:p>
          <a:p>
            <a:pPr eaLnBrk="0" hangingPunct="0">
              <a:spcBef>
                <a:spcPct val="0"/>
              </a:spcBef>
            </a:pPr>
            <a:r>
              <a:rPr lang="en-US" sz="1400" dirty="0">
                <a:solidFill>
                  <a:srgbClr val="000000"/>
                </a:solidFill>
                <a:ea typeface="ＭＳ Ｐゴシック" pitchFamily="34" charset="-128"/>
              </a:rPr>
              <a:t>Head of North America</a:t>
            </a:r>
          </a:p>
          <a:p>
            <a:pPr eaLnBrk="0" hangingPunct="0">
              <a:spcBef>
                <a:spcPct val="0"/>
              </a:spcBef>
            </a:pPr>
            <a:r>
              <a:rPr lang="en-US" sz="1400" dirty="0">
                <a:solidFill>
                  <a:srgbClr val="000000"/>
                </a:solidFill>
                <a:ea typeface="ＭＳ Ｐゴシック" pitchFamily="34" charset="-128"/>
              </a:rPr>
              <a:t>+1 212 669 6426</a:t>
            </a:r>
          </a:p>
          <a:p>
            <a:pPr eaLnBrk="0" hangingPunct="0">
              <a:spcBef>
                <a:spcPct val="0"/>
              </a:spcBef>
            </a:pPr>
            <a:r>
              <a:rPr lang="en-US" sz="1400" dirty="0">
                <a:solidFill>
                  <a:srgbClr val="000000"/>
                </a:solidFill>
                <a:ea typeface="ＭＳ Ｐゴシック" pitchFamily="34" charset="-128"/>
              </a:rPr>
              <a:t>+1 917 916 6027 (mobile)</a:t>
            </a:r>
          </a:p>
          <a:p>
            <a:pPr eaLnBrk="0" hangingPunct="0">
              <a:spcBef>
                <a:spcPct val="0"/>
              </a:spcBef>
            </a:pPr>
            <a:r>
              <a:rPr lang="en-US" sz="14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6" name="Rectangle 569"/>
          <p:cNvSpPr>
            <a:spLocks noChangeArrowheads="1"/>
          </p:cNvSpPr>
          <p:nvPr/>
        </p:nvSpPr>
        <p:spPr bwMode="auto">
          <a:xfrm>
            <a:off x="3511477" y="3535223"/>
            <a:ext cx="2879999" cy="1077218"/>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400" b="1" dirty="0" smtClean="0">
                <a:solidFill>
                  <a:srgbClr val="000000"/>
                </a:solidFill>
                <a:ea typeface="ＭＳ Ｐゴシック" pitchFamily="34" charset="-128"/>
              </a:rPr>
              <a:t>Shaun Baskett</a:t>
            </a:r>
          </a:p>
          <a:p>
            <a:pPr eaLnBrk="0" hangingPunct="0">
              <a:spcBef>
                <a:spcPct val="0"/>
              </a:spcBef>
            </a:pPr>
            <a:r>
              <a:rPr lang="en-US" sz="1400" dirty="0" smtClean="0">
                <a:solidFill>
                  <a:srgbClr val="000000"/>
                </a:solidFill>
                <a:ea typeface="ＭＳ Ｐゴシック" pitchFamily="34" charset="-128"/>
              </a:rPr>
              <a:t>Head of Northern Europe</a:t>
            </a:r>
          </a:p>
          <a:p>
            <a:pPr eaLnBrk="0" hangingPunct="0">
              <a:spcBef>
                <a:spcPct val="0"/>
              </a:spcBef>
            </a:pPr>
            <a:r>
              <a:rPr lang="en-US" sz="1400" dirty="0" smtClean="0">
                <a:solidFill>
                  <a:srgbClr val="000000"/>
                </a:solidFill>
                <a:ea typeface="ＭＳ Ｐゴシック" pitchFamily="34" charset="-128"/>
              </a:rPr>
              <a:t>+44 207 862 7680</a:t>
            </a:r>
          </a:p>
          <a:p>
            <a:pPr eaLnBrk="0" hangingPunct="0">
              <a:spcBef>
                <a:spcPct val="0"/>
              </a:spcBef>
            </a:pPr>
            <a:r>
              <a:rPr lang="en-US" sz="1400" dirty="0" smtClean="0">
                <a:solidFill>
                  <a:srgbClr val="000000"/>
                </a:solidFill>
                <a:ea typeface="ＭＳ Ｐゴシック" pitchFamily="34" charset="-128"/>
              </a:rPr>
              <a:t>+44 785 430 7525 (mobile)</a:t>
            </a:r>
          </a:p>
          <a:p>
            <a:pPr eaLnBrk="0" hangingPunct="0">
              <a:spcBef>
                <a:spcPct val="0"/>
              </a:spcBef>
            </a:pPr>
            <a:r>
              <a:rPr lang="en-US" sz="1400" dirty="0" smtClean="0">
                <a:solidFill>
                  <a:srgbClr val="000000"/>
                </a:solidFill>
                <a:ea typeface="ＭＳ Ｐゴシック" pitchFamily="34" charset="-128"/>
              </a:rPr>
              <a:t>shaun.baskett@stoxx.com</a:t>
            </a:r>
            <a:endParaRPr lang="en-US" sz="1400" dirty="0">
              <a:solidFill>
                <a:srgbClr val="000000"/>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3" y="3535223"/>
            <a:ext cx="3000066" cy="1077218"/>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400" b="1" dirty="0" smtClean="0">
                <a:solidFill>
                  <a:srgbClr val="000000"/>
                </a:solidFill>
                <a:ea typeface="ＭＳ Ｐゴシック" pitchFamily="34" charset="-128"/>
              </a:rPr>
              <a:t>Shirley Low, </a:t>
            </a:r>
            <a:r>
              <a:rPr lang="ja-JP" altLang="en-US" sz="1400" b="1" dirty="0" smtClean="0">
                <a:solidFill>
                  <a:srgbClr val="000000"/>
                </a:solidFill>
              </a:rPr>
              <a:t>刘</a:t>
            </a:r>
            <a:r>
              <a:rPr lang="ja-JP" altLang="en-US" sz="1400" b="1" dirty="0">
                <a:solidFill>
                  <a:srgbClr val="000000"/>
                </a:solidFill>
              </a:rPr>
              <a:t>洧琁</a:t>
            </a:r>
            <a:r>
              <a:rPr lang="en-US" altLang="ja-JP" sz="1400" b="1" dirty="0" smtClean="0">
                <a:solidFill>
                  <a:srgbClr val="000000"/>
                </a:solidFill>
              </a:rPr>
              <a:t>, </a:t>
            </a:r>
            <a:r>
              <a:rPr lang="en-US" sz="1400" b="1" dirty="0" smtClean="0">
                <a:solidFill>
                  <a:srgbClr val="000000"/>
                </a:solidFill>
                <a:ea typeface="ＭＳ Ｐゴシック" pitchFamily="34" charset="-128"/>
              </a:rPr>
              <a:t>CFA, CAIA </a:t>
            </a:r>
          </a:p>
          <a:p>
            <a:pPr defTabSz="623888" eaLnBrk="0" hangingPunct="0">
              <a:spcBef>
                <a:spcPct val="0"/>
              </a:spcBef>
            </a:pPr>
            <a:r>
              <a:rPr lang="en-US" sz="1400" dirty="0" smtClean="0">
                <a:solidFill>
                  <a:prstClr val="black"/>
                </a:solidFill>
              </a:rPr>
              <a:t>Head</a:t>
            </a:r>
            <a:r>
              <a:rPr lang="en-GB" sz="1400" dirty="0" smtClean="0">
                <a:solidFill>
                  <a:prstClr val="black"/>
                </a:solidFill>
              </a:rPr>
              <a:t> </a:t>
            </a:r>
            <a:r>
              <a:rPr lang="en-US" sz="1400" dirty="0" smtClean="0">
                <a:solidFill>
                  <a:prstClr val="black"/>
                </a:solidFill>
              </a:rPr>
              <a:t>of Asia/Pacific</a:t>
            </a:r>
          </a:p>
          <a:p>
            <a:pPr defTabSz="623888" eaLnBrk="0" hangingPunct="0">
              <a:spcBef>
                <a:spcPct val="0"/>
              </a:spcBef>
            </a:pPr>
            <a:r>
              <a:rPr lang="en-US" sz="1400" dirty="0" smtClean="0">
                <a:solidFill>
                  <a:prstClr val="black"/>
                </a:solidFill>
              </a:rPr>
              <a:t>+</a:t>
            </a:r>
            <a:r>
              <a:rPr lang="en-US" sz="1400" dirty="0">
                <a:solidFill>
                  <a:prstClr val="black"/>
                </a:solidFill>
              </a:rPr>
              <a:t>41 58 399 4938</a:t>
            </a:r>
          </a:p>
          <a:p>
            <a:pPr defTabSz="623888" eaLnBrk="0" hangingPunct="0">
              <a:spcBef>
                <a:spcPct val="0"/>
              </a:spcBef>
            </a:pPr>
            <a:r>
              <a:rPr lang="en-US" sz="1400" dirty="0">
                <a:solidFill>
                  <a:prstClr val="black"/>
                </a:solidFill>
              </a:rPr>
              <a:t>+41 79 746 9519 (mobile)</a:t>
            </a:r>
            <a:endParaRPr lang="en-GB" sz="1400" dirty="0">
              <a:solidFill>
                <a:prstClr val="black"/>
              </a:solidFill>
            </a:endParaRPr>
          </a:p>
          <a:p>
            <a:pPr defTabSz="623888" eaLnBrk="0" hangingPunct="0">
              <a:spcBef>
                <a:spcPct val="0"/>
              </a:spcBef>
            </a:pPr>
            <a:r>
              <a:rPr lang="en-US" sz="1400" dirty="0" smtClean="0">
                <a:solidFill>
                  <a:prstClr val="black"/>
                </a:solidFill>
              </a:rPr>
              <a:t>shirley.low@stoxx.com</a:t>
            </a:r>
            <a:endParaRPr lang="en-US" sz="1400" dirty="0">
              <a:solidFill>
                <a:prstClr val="black"/>
              </a:solidFill>
            </a:endParaRPr>
          </a:p>
        </p:txBody>
      </p:sp>
      <p:sp>
        <p:nvSpPr>
          <p:cNvPr id="566" name="Rectangle 569"/>
          <p:cNvSpPr>
            <a:spLocks noChangeArrowheads="1"/>
          </p:cNvSpPr>
          <p:nvPr/>
        </p:nvSpPr>
        <p:spPr bwMode="auto">
          <a:xfrm>
            <a:off x="3511477" y="4900708"/>
            <a:ext cx="2879999" cy="1077218"/>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400" b="1" dirty="0">
                <a:solidFill>
                  <a:srgbClr val="000000"/>
                </a:solidFill>
                <a:ea typeface="ＭＳ Ｐゴシック" pitchFamily="34" charset="-128"/>
              </a:rPr>
              <a:t>Rocco D'Urso </a:t>
            </a:r>
          </a:p>
          <a:p>
            <a:pPr eaLnBrk="0" hangingPunct="0">
              <a:spcBef>
                <a:spcPct val="0"/>
              </a:spcBef>
            </a:pPr>
            <a:r>
              <a:rPr lang="en-US" sz="1400" dirty="0">
                <a:solidFill>
                  <a:srgbClr val="000000"/>
                </a:solidFill>
                <a:ea typeface="ＭＳ Ｐゴシック" pitchFamily="34" charset="-128"/>
              </a:rPr>
              <a:t>Head </a:t>
            </a:r>
            <a:r>
              <a:rPr lang="en-US" sz="1400" dirty="0" smtClean="0">
                <a:solidFill>
                  <a:srgbClr val="000000"/>
                </a:solidFill>
                <a:ea typeface="ＭＳ Ｐゴシック" pitchFamily="34" charset="-128"/>
              </a:rPr>
              <a:t>of Southern Europe</a:t>
            </a:r>
            <a:endParaRPr lang="en-US" sz="1400" dirty="0">
              <a:solidFill>
                <a:srgbClr val="000000"/>
              </a:solidFill>
              <a:ea typeface="ＭＳ Ｐゴシック" pitchFamily="34" charset="-128"/>
            </a:endParaRPr>
          </a:p>
          <a:p>
            <a:pPr eaLnBrk="0" hangingPunct="0">
              <a:spcBef>
                <a:spcPct val="0"/>
              </a:spcBef>
            </a:pPr>
            <a:r>
              <a:rPr lang="en-US" sz="1400" dirty="0" smtClean="0">
                <a:solidFill>
                  <a:srgbClr val="000000"/>
                </a:solidFill>
                <a:ea typeface="ＭＳ Ｐゴシック" pitchFamily="34" charset="-128"/>
              </a:rPr>
              <a:t>+</a:t>
            </a:r>
            <a:r>
              <a:rPr lang="en-US" sz="1400" dirty="0">
                <a:solidFill>
                  <a:srgbClr val="000000"/>
                </a:solidFill>
                <a:ea typeface="ＭＳ Ｐゴシック" pitchFamily="34" charset="-128"/>
              </a:rPr>
              <a:t>41 58 399 3898</a:t>
            </a:r>
          </a:p>
          <a:p>
            <a:pPr eaLnBrk="0" hangingPunct="0">
              <a:spcBef>
                <a:spcPct val="0"/>
              </a:spcBef>
            </a:pPr>
            <a:r>
              <a:rPr lang="en-US" sz="1400" dirty="0">
                <a:solidFill>
                  <a:srgbClr val="000000"/>
                </a:solidFill>
                <a:ea typeface="ＭＳ Ｐゴシック" pitchFamily="34" charset="-128"/>
              </a:rPr>
              <a:t>+41 79 538 6017 (mobile)</a:t>
            </a:r>
          </a:p>
          <a:p>
            <a:pPr eaLnBrk="0" hangingPunct="0">
              <a:spcBef>
                <a:spcPct val="0"/>
              </a:spcBef>
            </a:pPr>
            <a:r>
              <a:rPr lang="en-US" sz="1400" dirty="0">
                <a:solidFill>
                  <a:srgbClr val="000000"/>
                </a:solidFill>
                <a:ea typeface="ＭＳ Ｐゴシック" pitchFamily="34" charset="-128"/>
              </a:rPr>
              <a:t>rocco.durso@stoxx.com</a:t>
            </a: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1077218"/>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de-CH" sz="1400" b="1" dirty="0">
                <a:solidFill>
                  <a:prstClr val="black"/>
                </a:solidFill>
              </a:rPr>
              <a:t>Matteo Andreetto </a:t>
            </a:r>
            <a:endParaRPr lang="de-CH" sz="1400" b="1" dirty="0" smtClean="0">
              <a:solidFill>
                <a:prstClr val="black"/>
              </a:solidFill>
            </a:endParaRPr>
          </a:p>
          <a:p>
            <a:pPr eaLnBrk="0" hangingPunct="0">
              <a:spcBef>
                <a:spcPct val="0"/>
              </a:spcBef>
            </a:pPr>
            <a:r>
              <a:rPr lang="de-CH" sz="1400" dirty="0" smtClean="0">
                <a:solidFill>
                  <a:prstClr val="black"/>
                </a:solidFill>
                <a:ea typeface="ＭＳ Ｐゴシック" pitchFamily="34" charset="-128"/>
              </a:rPr>
              <a:t>Global </a:t>
            </a:r>
            <a:r>
              <a:rPr lang="en-US" sz="1400" dirty="0">
                <a:solidFill>
                  <a:srgbClr val="000000"/>
                </a:solidFill>
                <a:ea typeface="ＭＳ Ｐゴシック" pitchFamily="34" charset="-128"/>
              </a:rPr>
              <a:t>h</a:t>
            </a:r>
            <a:r>
              <a:rPr lang="en-US" sz="1400" dirty="0" smtClean="0">
                <a:solidFill>
                  <a:srgbClr val="000000"/>
                </a:solidFill>
                <a:ea typeface="ＭＳ Ｐゴシック" pitchFamily="34" charset="-128"/>
              </a:rPr>
              <a:t>ead of sales</a:t>
            </a:r>
          </a:p>
          <a:p>
            <a:pPr eaLnBrk="0" hangingPunct="0">
              <a:spcBef>
                <a:spcPct val="0"/>
              </a:spcBef>
            </a:pPr>
            <a:r>
              <a:rPr lang="en-US" sz="1400" dirty="0" smtClean="0">
                <a:solidFill>
                  <a:srgbClr val="000000"/>
                </a:solidFill>
                <a:ea typeface="ＭＳ Ｐゴシック" pitchFamily="34" charset="-128"/>
              </a:rPr>
              <a:t>+44 </a:t>
            </a:r>
            <a:r>
              <a:rPr lang="en-US" sz="1400" dirty="0">
                <a:solidFill>
                  <a:srgbClr val="000000"/>
                </a:solidFill>
                <a:ea typeface="ＭＳ Ｐゴシック" pitchFamily="34" charset="-128"/>
              </a:rPr>
              <a:t>207 862 7676</a:t>
            </a:r>
            <a:endParaRPr lang="en-US" sz="1400" dirty="0" smtClean="0">
              <a:solidFill>
                <a:srgbClr val="000000"/>
              </a:solidFill>
              <a:ea typeface="ＭＳ Ｐゴシック" pitchFamily="34" charset="-128"/>
            </a:endParaRPr>
          </a:p>
          <a:p>
            <a:pPr eaLnBrk="0" hangingPunct="0">
              <a:spcBef>
                <a:spcPct val="0"/>
              </a:spcBef>
            </a:pPr>
            <a:r>
              <a:rPr lang="en-US" sz="1400" dirty="0" smtClean="0">
                <a:solidFill>
                  <a:srgbClr val="000000"/>
                </a:solidFill>
                <a:ea typeface="ＭＳ Ｐゴシック" pitchFamily="34" charset="-128"/>
              </a:rPr>
              <a:t>+44 </a:t>
            </a:r>
            <a:r>
              <a:rPr lang="en-US" sz="1400" dirty="0">
                <a:solidFill>
                  <a:srgbClr val="000000"/>
                </a:solidFill>
                <a:ea typeface="ＭＳ Ｐゴシック" pitchFamily="34" charset="-128"/>
              </a:rPr>
              <a:t>7843 065489 (mobile</a:t>
            </a:r>
            <a:r>
              <a:rPr lang="en-US" sz="1400" dirty="0" smtClean="0">
                <a:solidFill>
                  <a:srgbClr val="000000"/>
                </a:solidFill>
                <a:ea typeface="ＭＳ Ｐゴシック" pitchFamily="34" charset="-128"/>
              </a:rPr>
              <a:t>)</a:t>
            </a:r>
          </a:p>
          <a:p>
            <a:pPr eaLnBrk="0" hangingPunct="0">
              <a:spcBef>
                <a:spcPct val="0"/>
              </a:spcBef>
            </a:pPr>
            <a:r>
              <a:rPr lang="en-US" sz="1400" dirty="0">
                <a:solidFill>
                  <a:srgbClr val="000000"/>
                </a:solidFill>
                <a:ea typeface="ＭＳ Ｐゴシック" pitchFamily="34" charset="-128"/>
              </a:rPr>
              <a:t>m</a:t>
            </a:r>
            <a:r>
              <a:rPr lang="en-US" sz="1400" dirty="0" smtClean="0">
                <a:solidFill>
                  <a:srgbClr val="000000"/>
                </a:solidFill>
                <a:ea typeface="ＭＳ Ｐゴシック" pitchFamily="34" charset="-128"/>
              </a:rPr>
              <a:t>atteo.andreetto@stoxx.com</a:t>
            </a:r>
            <a:endParaRPr lang="en-US" sz="1400" dirty="0">
              <a:solidFill>
                <a:srgbClr val="000000"/>
              </a:solidFill>
              <a:ea typeface="ＭＳ Ｐゴシック" pitchFamily="34" charset="-128"/>
            </a:endParaRPr>
          </a:p>
        </p:txBody>
      </p:sp>
    </p:spTree>
    <p:extLst>
      <p:ext uri="{BB962C8B-B14F-4D97-AF65-F5344CB8AC3E}">
        <p14:creationId xmlns:p14="http://schemas.microsoft.com/office/powerpoint/2010/main" val="30706519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5088553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Executive summary</a:t>
            </a:r>
            <a:r>
              <a:rPr lang="en-US" dirty="0" smtClean="0"/>
              <a:t>	</a:t>
            </a:r>
            <a:r>
              <a:rPr lang="en-US" dirty="0" smtClean="0"/>
              <a:t>	Page 3</a:t>
            </a:r>
            <a:endParaRPr lang="en-US" dirty="0" smtClean="0"/>
          </a:p>
          <a:p>
            <a:r>
              <a:rPr lang="en-US" dirty="0" smtClean="0"/>
              <a:t>Why investors may need currency hedging</a:t>
            </a:r>
            <a:r>
              <a:rPr lang="en-US" dirty="0" smtClean="0"/>
              <a:t>	</a:t>
            </a:r>
            <a:r>
              <a:rPr lang="en-US" dirty="0" smtClean="0"/>
              <a:t>	Page 5</a:t>
            </a:r>
            <a:endParaRPr lang="en-US" dirty="0" smtClean="0"/>
          </a:p>
          <a:p>
            <a:r>
              <a:rPr lang="en-US" dirty="0" smtClean="0"/>
              <a:t>How a currency forward trade works</a:t>
            </a:r>
            <a:r>
              <a:rPr lang="en-US" dirty="0" smtClean="0"/>
              <a:t>	</a:t>
            </a:r>
            <a:r>
              <a:rPr lang="en-US" dirty="0" smtClean="0"/>
              <a:t>	Page 7</a:t>
            </a:r>
          </a:p>
          <a:p>
            <a:r>
              <a:rPr lang="en-US" dirty="0" smtClean="0"/>
              <a:t>Comparing alternatives: daily vs. monthly hedging	Page 10</a:t>
            </a:r>
          </a:p>
          <a:p>
            <a:r>
              <a:rPr lang="en-US" dirty="0" smtClean="0"/>
              <a:t> Daily vs. monthly hedging: formulas explained		Page 12</a:t>
            </a:r>
          </a:p>
          <a:p>
            <a:r>
              <a:rPr lang="en-US" dirty="0" smtClean="0"/>
              <a:t>Showcase: EURO STOXX 50 CHF Hedged		Page 14</a:t>
            </a:r>
            <a:endParaRPr lang="en-US" dirty="0"/>
          </a:p>
        </p:txBody>
      </p:sp>
    </p:spTree>
    <p:extLst>
      <p:ext uri="{BB962C8B-B14F-4D97-AF65-F5344CB8AC3E}">
        <p14:creationId xmlns:p14="http://schemas.microsoft.com/office/powerpoint/2010/main" val="15268809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solidFill>
                  <a:srgbClr val="009EE0"/>
                </a:solidFill>
              </a:rPr>
              <a:t>1. Executive summary</a:t>
            </a:r>
            <a:endParaRPr lang="en-US" dirty="0">
              <a:solidFill>
                <a:schemeClr val="accent5"/>
              </a:solidFill>
            </a:endParaRPr>
          </a:p>
        </p:txBody>
      </p:sp>
    </p:spTree>
    <p:extLst>
      <p:ext uri="{BB962C8B-B14F-4D97-AF65-F5344CB8AC3E}">
        <p14:creationId xmlns:p14="http://schemas.microsoft.com/office/powerpoint/2010/main" val="3137214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17"/>
          <p:cNvSpPr>
            <a:spLocks noChangeArrowheads="1"/>
          </p:cNvSpPr>
          <p:nvPr/>
        </p:nvSpPr>
        <p:spPr bwMode="auto">
          <a:xfrm>
            <a:off x="7402513" y="1836737"/>
            <a:ext cx="2122488" cy="3983768"/>
          </a:xfrm>
          <a:prstGeom prst="rect">
            <a:avLst/>
          </a:prstGeom>
          <a:solidFill>
            <a:srgbClr val="D9D9D9"/>
          </a:solidFill>
          <a:ln w="9525" algn="ctr">
            <a:solidFill>
              <a:srgbClr val="D9D9D9"/>
            </a:solidFill>
            <a:round/>
            <a:headEnd/>
            <a:tailEnd/>
          </a:ln>
        </p:spPr>
        <p:txBody>
          <a:bodyPr wrap="none" lIns="0" tIns="0" rIns="0" bIns="0" anchor="ctr"/>
          <a:lstStyle/>
          <a:p>
            <a:pPr>
              <a:spcBef>
                <a:spcPct val="0"/>
              </a:spcBef>
            </a:pPr>
            <a:endParaRPr lang="en-US" dirty="0"/>
          </a:p>
        </p:txBody>
      </p:sp>
      <p:sp>
        <p:nvSpPr>
          <p:cNvPr id="44035" name="Rectangle 2"/>
          <p:cNvSpPr>
            <a:spLocks noGrp="1" noChangeArrowheads="1"/>
          </p:cNvSpPr>
          <p:nvPr>
            <p:ph type="title"/>
          </p:nvPr>
        </p:nvSpPr>
        <p:spPr/>
        <p:txBody>
          <a:bodyPr/>
          <a:lstStyle/>
          <a:p>
            <a:r>
              <a:rPr lang="en-US" dirty="0" smtClean="0"/>
              <a:t>STOXX Currency hedged indices: a complete index suite to hedged away undesired currency risks</a:t>
            </a:r>
            <a:endParaRPr lang="en-US" dirty="0" smtClean="0"/>
          </a:p>
        </p:txBody>
      </p:sp>
      <p:sp>
        <p:nvSpPr>
          <p:cNvPr id="44036" name="Rectangle 2"/>
          <p:cNvSpPr>
            <a:spLocks noChangeArrowheads="1"/>
          </p:cNvSpPr>
          <p:nvPr/>
        </p:nvSpPr>
        <p:spPr bwMode="auto">
          <a:xfrm>
            <a:off x="368300" y="1836738"/>
            <a:ext cx="21224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400" b="1" dirty="0" smtClean="0">
                <a:solidFill>
                  <a:schemeClr val="bg1"/>
                </a:solidFill>
              </a:rPr>
              <a:t>Currency risk</a:t>
            </a:r>
            <a:endParaRPr lang="en-US" sz="1400" b="1" dirty="0">
              <a:solidFill>
                <a:schemeClr val="bg1"/>
              </a:solidFill>
            </a:endParaRPr>
          </a:p>
        </p:txBody>
      </p:sp>
      <p:sp>
        <p:nvSpPr>
          <p:cNvPr id="44037" name="Rectangle 2"/>
          <p:cNvSpPr>
            <a:spLocks noChangeArrowheads="1"/>
          </p:cNvSpPr>
          <p:nvPr/>
        </p:nvSpPr>
        <p:spPr bwMode="auto">
          <a:xfrm>
            <a:off x="2711450" y="1836738"/>
            <a:ext cx="21224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400" b="1" dirty="0" smtClean="0">
                <a:solidFill>
                  <a:schemeClr val="bg1"/>
                </a:solidFill>
              </a:rPr>
              <a:t>Currency hedging</a:t>
            </a:r>
            <a:endParaRPr lang="en-US" sz="1400" b="1" dirty="0">
              <a:solidFill>
                <a:schemeClr val="bg1"/>
              </a:solidFill>
            </a:endParaRPr>
          </a:p>
        </p:txBody>
      </p:sp>
      <p:sp>
        <p:nvSpPr>
          <p:cNvPr id="44038" name="Rectangle 2"/>
          <p:cNvSpPr>
            <a:spLocks noChangeArrowheads="1"/>
          </p:cNvSpPr>
          <p:nvPr/>
        </p:nvSpPr>
        <p:spPr bwMode="auto">
          <a:xfrm>
            <a:off x="5057775" y="1836738"/>
            <a:ext cx="21224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400" b="1" dirty="0" smtClean="0">
                <a:solidFill>
                  <a:schemeClr val="bg1"/>
                </a:solidFill>
              </a:rPr>
              <a:t>Daily/monthly hedging</a:t>
            </a:r>
            <a:endParaRPr lang="en-US" sz="1400" b="1" dirty="0">
              <a:solidFill>
                <a:schemeClr val="bg1"/>
              </a:solidFill>
            </a:endParaRPr>
          </a:p>
        </p:txBody>
      </p:sp>
      <p:sp>
        <p:nvSpPr>
          <p:cNvPr id="44039" name="Rectangle 8"/>
          <p:cNvSpPr>
            <a:spLocks noChangeArrowheads="1"/>
          </p:cNvSpPr>
          <p:nvPr/>
        </p:nvSpPr>
        <p:spPr bwMode="auto">
          <a:xfrm>
            <a:off x="368300" y="2217738"/>
            <a:ext cx="2122488" cy="3070071"/>
          </a:xfrm>
          <a:prstGeom prst="rect">
            <a:avLst/>
          </a:prstGeom>
          <a:noFill/>
          <a:ln w="9525">
            <a:noFill/>
            <a:miter lim="800000"/>
            <a:headEnd/>
            <a:tailEnd/>
          </a:ln>
        </p:spPr>
        <p:txBody>
          <a:bodyPr lIns="0" tIns="0" rIns="0" bIns="0">
            <a:spAutoFit/>
          </a:bodyPr>
          <a:lstStyle/>
          <a:p>
            <a:pPr marL="190500" lvl="1" indent="-188913">
              <a:lnSpc>
                <a:spcPct val="95000"/>
              </a:lnSpc>
              <a:spcBef>
                <a:spcPct val="0"/>
              </a:spcBef>
              <a:buFont typeface="Arial" charset="0"/>
              <a:buChar char="»"/>
            </a:pPr>
            <a:r>
              <a:rPr lang="en-US" sz="1400" b="0" dirty="0" smtClean="0"/>
              <a:t>Investment total return = Security return + Currency return</a:t>
            </a:r>
          </a:p>
          <a:p>
            <a:pPr marL="190500" lvl="1" indent="-188913">
              <a:lnSpc>
                <a:spcPct val="95000"/>
              </a:lnSpc>
              <a:spcBef>
                <a:spcPct val="0"/>
              </a:spcBef>
              <a:buFont typeface="Arial" charset="0"/>
              <a:buChar char="»"/>
            </a:pPr>
            <a:endParaRPr lang="en-US" sz="1400" dirty="0"/>
          </a:p>
          <a:p>
            <a:pPr marL="190500" lvl="1" indent="-188913">
              <a:lnSpc>
                <a:spcPct val="95000"/>
              </a:lnSpc>
              <a:spcBef>
                <a:spcPct val="0"/>
              </a:spcBef>
              <a:buFont typeface="Arial" charset="0"/>
              <a:buChar char="»"/>
            </a:pPr>
            <a:r>
              <a:rPr lang="en-US" sz="1400" b="0" dirty="0" smtClean="0"/>
              <a:t>Currency return </a:t>
            </a:r>
            <a:r>
              <a:rPr lang="en-US" sz="1400" b="0" dirty="0" smtClean="0">
                <a:sym typeface="Wingdings" panose="05000000000000000000" pitchFamily="2" charset="2"/>
              </a:rPr>
              <a:t> currency risk</a:t>
            </a:r>
            <a:endParaRPr lang="en-US" sz="1400" b="0" dirty="0" smtClean="0"/>
          </a:p>
          <a:p>
            <a:pPr marL="190500" lvl="1" indent="-188913">
              <a:lnSpc>
                <a:spcPct val="95000"/>
              </a:lnSpc>
              <a:spcBef>
                <a:spcPct val="0"/>
              </a:spcBef>
              <a:buFont typeface="Arial" charset="0"/>
              <a:buChar char="»"/>
            </a:pPr>
            <a:endParaRPr lang="en-US" sz="1400" b="0" dirty="0" smtClean="0"/>
          </a:p>
          <a:p>
            <a:pPr marL="190500" lvl="1" indent="-188913">
              <a:lnSpc>
                <a:spcPct val="95000"/>
              </a:lnSpc>
              <a:spcBef>
                <a:spcPct val="0"/>
              </a:spcBef>
              <a:buFont typeface="Arial" charset="0"/>
              <a:buChar char="»"/>
            </a:pPr>
            <a:r>
              <a:rPr lang="en-US" sz="1400" dirty="0" smtClean="0"/>
              <a:t>Investor may have a view on securities’ </a:t>
            </a:r>
            <a:r>
              <a:rPr lang="en-US" sz="1400" dirty="0" err="1" smtClean="0"/>
              <a:t>behaviour</a:t>
            </a:r>
            <a:r>
              <a:rPr lang="en-US" sz="1400" dirty="0" smtClean="0"/>
              <a:t>, but not on currencies’ one</a:t>
            </a:r>
          </a:p>
          <a:p>
            <a:pPr marL="190500" lvl="1" indent="-188913">
              <a:lnSpc>
                <a:spcPct val="95000"/>
              </a:lnSpc>
              <a:spcBef>
                <a:spcPct val="0"/>
              </a:spcBef>
              <a:buFont typeface="Arial" charset="0"/>
              <a:buChar char="»"/>
            </a:pPr>
            <a:endParaRPr lang="en-US" sz="1400" b="0" dirty="0"/>
          </a:p>
          <a:p>
            <a:pPr marL="190500" lvl="1" indent="-188913">
              <a:lnSpc>
                <a:spcPct val="95000"/>
              </a:lnSpc>
              <a:spcBef>
                <a:spcPct val="0"/>
              </a:spcBef>
              <a:buFont typeface="Arial" charset="0"/>
              <a:buChar char="»"/>
            </a:pPr>
            <a:r>
              <a:rPr lang="en-US" sz="1400" dirty="0" smtClean="0"/>
              <a:t>Investor may be </a:t>
            </a:r>
            <a:r>
              <a:rPr lang="en-US" sz="1400" dirty="0"/>
              <a:t>not </a:t>
            </a:r>
            <a:r>
              <a:rPr lang="en-US" sz="1400" dirty="0" smtClean="0"/>
              <a:t>willing / not allowed to take currency risk</a:t>
            </a:r>
            <a:endParaRPr lang="en-US" sz="1400" b="0" dirty="0"/>
          </a:p>
        </p:txBody>
      </p:sp>
      <p:sp>
        <p:nvSpPr>
          <p:cNvPr id="44040" name="Rectangle 9"/>
          <p:cNvSpPr>
            <a:spLocks noChangeArrowheads="1"/>
          </p:cNvSpPr>
          <p:nvPr/>
        </p:nvSpPr>
        <p:spPr bwMode="auto">
          <a:xfrm>
            <a:off x="2711450" y="2217738"/>
            <a:ext cx="2122488" cy="2456057"/>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400" dirty="0" smtClean="0"/>
              <a:t>Currency risk can be hedged away via currency forward trades</a:t>
            </a:r>
          </a:p>
          <a:p>
            <a:pPr marL="190500" lvl="1" indent="-188913" algn="l">
              <a:lnSpc>
                <a:spcPct val="95000"/>
              </a:lnSpc>
              <a:spcBef>
                <a:spcPct val="0"/>
              </a:spcBef>
              <a:buFont typeface="Arial" charset="0"/>
              <a:buChar char="»"/>
            </a:pPr>
            <a:endParaRPr lang="en-US" sz="1400" b="0" dirty="0" smtClean="0"/>
          </a:p>
          <a:p>
            <a:pPr marL="190500" lvl="1" indent="-188913" algn="l">
              <a:lnSpc>
                <a:spcPct val="95000"/>
              </a:lnSpc>
              <a:spcBef>
                <a:spcPct val="0"/>
              </a:spcBef>
              <a:buFont typeface="Arial" charset="0"/>
              <a:buChar char="»"/>
            </a:pPr>
            <a:r>
              <a:rPr lang="en-US" sz="1400" b="0" dirty="0" smtClean="0"/>
              <a:t>A 100% hedge ratio fully offsets currency movements</a:t>
            </a:r>
          </a:p>
          <a:p>
            <a:pPr marL="190500" lvl="1" indent="-188913" algn="l">
              <a:lnSpc>
                <a:spcPct val="95000"/>
              </a:lnSpc>
              <a:spcBef>
                <a:spcPct val="0"/>
              </a:spcBef>
              <a:buFont typeface="Arial" charset="0"/>
              <a:buChar char="»"/>
            </a:pPr>
            <a:endParaRPr lang="en-US" sz="1400" b="0" dirty="0" smtClean="0"/>
          </a:p>
          <a:p>
            <a:pPr marL="190500" lvl="1" indent="-188913" algn="l">
              <a:lnSpc>
                <a:spcPct val="95000"/>
              </a:lnSpc>
              <a:spcBef>
                <a:spcPct val="0"/>
              </a:spcBef>
              <a:buFont typeface="Arial" charset="0"/>
              <a:buChar char="»"/>
            </a:pPr>
            <a:r>
              <a:rPr lang="en-US" sz="1400" dirty="0" smtClean="0"/>
              <a:t>Over/under-hedging may be exploited to take advantage of contingent market conditions</a:t>
            </a:r>
            <a:endParaRPr lang="en-US" sz="1400" b="0" dirty="0"/>
          </a:p>
        </p:txBody>
      </p:sp>
      <p:sp>
        <p:nvSpPr>
          <p:cNvPr id="44041" name="Rectangle 10"/>
          <p:cNvSpPr>
            <a:spLocks noChangeArrowheads="1"/>
          </p:cNvSpPr>
          <p:nvPr/>
        </p:nvSpPr>
        <p:spPr bwMode="auto">
          <a:xfrm>
            <a:off x="5057775" y="2217738"/>
            <a:ext cx="2122488" cy="2689967"/>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400" dirty="0" smtClean="0"/>
              <a:t>Daily</a:t>
            </a:r>
            <a:r>
              <a:rPr lang="en-US" sz="1400" b="0" dirty="0" smtClean="0"/>
              <a:t> adjustment of hedge ratio and currency weights</a:t>
            </a:r>
          </a:p>
          <a:p>
            <a:pPr marL="458787" lvl="2">
              <a:lnSpc>
                <a:spcPct val="95000"/>
              </a:lnSpc>
              <a:spcBef>
                <a:spcPct val="0"/>
              </a:spcBef>
            </a:pPr>
            <a:r>
              <a:rPr lang="en-US" sz="1600" b="1" dirty="0" smtClean="0">
                <a:solidFill>
                  <a:srgbClr val="00B050"/>
                </a:solidFill>
                <a:sym typeface="Wingdings" panose="05000000000000000000" pitchFamily="2" charset="2"/>
              </a:rPr>
              <a:t>+</a:t>
            </a:r>
            <a:r>
              <a:rPr lang="en-US" sz="1400" dirty="0" smtClean="0">
                <a:sym typeface="Wingdings" panose="05000000000000000000" pitchFamily="2" charset="2"/>
              </a:rPr>
              <a:t> </a:t>
            </a:r>
            <a:r>
              <a:rPr lang="en-US" sz="1400" dirty="0" smtClean="0"/>
              <a:t>higher responsiveness</a:t>
            </a:r>
          </a:p>
          <a:p>
            <a:pPr marL="458787" lvl="2">
              <a:lnSpc>
                <a:spcPct val="95000"/>
              </a:lnSpc>
              <a:spcBef>
                <a:spcPct val="0"/>
              </a:spcBef>
            </a:pPr>
            <a:r>
              <a:rPr lang="en-US" sz="1400" b="1" dirty="0" smtClean="0">
                <a:solidFill>
                  <a:srgbClr val="FF0000"/>
                </a:solidFill>
                <a:sym typeface="Wingdings" panose="05000000000000000000" pitchFamily="2" charset="2"/>
              </a:rPr>
              <a:t>-</a:t>
            </a:r>
            <a:r>
              <a:rPr lang="en-US" sz="1400" dirty="0" smtClean="0">
                <a:sym typeface="Wingdings" panose="05000000000000000000" pitchFamily="2" charset="2"/>
              </a:rPr>
              <a:t> </a:t>
            </a:r>
            <a:r>
              <a:rPr lang="en-US" sz="1400" dirty="0">
                <a:sym typeface="Wingdings" panose="05000000000000000000" pitchFamily="2" charset="2"/>
              </a:rPr>
              <a:t>h</a:t>
            </a:r>
            <a:r>
              <a:rPr lang="en-US" sz="1400" dirty="0" smtClean="0">
                <a:sym typeface="Wingdings" panose="05000000000000000000" pitchFamily="2" charset="2"/>
              </a:rPr>
              <a:t>igher complexity</a:t>
            </a:r>
            <a:endParaRPr lang="en-US" sz="1400" dirty="0" smtClean="0"/>
          </a:p>
          <a:p>
            <a:pPr marL="458787" lvl="2">
              <a:lnSpc>
                <a:spcPct val="95000"/>
              </a:lnSpc>
              <a:spcBef>
                <a:spcPct val="0"/>
              </a:spcBef>
            </a:pPr>
            <a:endParaRPr lang="en-US" sz="1400" dirty="0" smtClean="0"/>
          </a:p>
          <a:p>
            <a:pPr marL="190500" lvl="1" indent="-188913">
              <a:lnSpc>
                <a:spcPct val="95000"/>
              </a:lnSpc>
              <a:spcBef>
                <a:spcPct val="0"/>
              </a:spcBef>
              <a:buFont typeface="Arial" charset="0"/>
              <a:buChar char="»"/>
            </a:pPr>
            <a:r>
              <a:rPr lang="en-US" sz="1400" dirty="0" smtClean="0"/>
              <a:t>Monthly </a:t>
            </a:r>
            <a:r>
              <a:rPr lang="en-US" sz="1400" dirty="0"/>
              <a:t>adjustment of hedge ratio and currency weights</a:t>
            </a:r>
          </a:p>
          <a:p>
            <a:pPr marL="458787" lvl="2">
              <a:lnSpc>
                <a:spcPct val="95000"/>
              </a:lnSpc>
              <a:spcBef>
                <a:spcPct val="0"/>
              </a:spcBef>
            </a:pPr>
            <a:r>
              <a:rPr lang="en-US" sz="1400" b="1" dirty="0">
                <a:solidFill>
                  <a:srgbClr val="00B050"/>
                </a:solidFill>
                <a:sym typeface="Wingdings" panose="05000000000000000000" pitchFamily="2" charset="2"/>
              </a:rPr>
              <a:t>+ </a:t>
            </a:r>
            <a:r>
              <a:rPr lang="en-US" sz="1400" dirty="0" smtClean="0"/>
              <a:t>easier maintenance</a:t>
            </a:r>
          </a:p>
          <a:p>
            <a:pPr marL="458787" lvl="2">
              <a:lnSpc>
                <a:spcPct val="95000"/>
              </a:lnSpc>
              <a:spcBef>
                <a:spcPct val="0"/>
              </a:spcBef>
            </a:pPr>
            <a:r>
              <a:rPr lang="en-US" sz="1400" b="1" dirty="0" smtClean="0">
                <a:solidFill>
                  <a:srgbClr val="FF0000"/>
                </a:solidFill>
                <a:sym typeface="Wingdings" panose="05000000000000000000" pitchFamily="2" charset="2"/>
              </a:rPr>
              <a:t>- </a:t>
            </a:r>
            <a:r>
              <a:rPr lang="en-US" sz="1400" dirty="0" smtClean="0"/>
              <a:t>reduced timeliness</a:t>
            </a:r>
            <a:endParaRPr lang="en-US" sz="1400" b="0" dirty="0"/>
          </a:p>
        </p:txBody>
      </p:sp>
      <p:grpSp>
        <p:nvGrpSpPr>
          <p:cNvPr id="2" name="Group 14"/>
          <p:cNvGrpSpPr>
            <a:grpSpLocks/>
          </p:cNvGrpSpPr>
          <p:nvPr/>
        </p:nvGrpSpPr>
        <p:grpSpPr bwMode="auto">
          <a:xfrm>
            <a:off x="7485063" y="1946275"/>
            <a:ext cx="339725" cy="307975"/>
            <a:chOff x="1603" y="2418"/>
            <a:chExt cx="198" cy="194"/>
          </a:xfrm>
        </p:grpSpPr>
        <p:sp>
          <p:nvSpPr>
            <p:cNvPr id="44045" name="Freeform 15"/>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44046" name="Freeform 16"/>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sp>
        <p:nvSpPr>
          <p:cNvPr id="44044" name="Rectangle 17"/>
          <p:cNvSpPr>
            <a:spLocks noChangeArrowheads="1"/>
          </p:cNvSpPr>
          <p:nvPr/>
        </p:nvSpPr>
        <p:spPr bwMode="auto">
          <a:xfrm>
            <a:off x="7485063" y="2379663"/>
            <a:ext cx="2044700" cy="2660728"/>
          </a:xfrm>
          <a:prstGeom prst="rect">
            <a:avLst/>
          </a:prstGeom>
          <a:noFill/>
          <a:ln w="9525">
            <a:noFill/>
            <a:miter lim="800000"/>
            <a:headEnd/>
            <a:tailEnd/>
          </a:ln>
        </p:spPr>
        <p:txBody>
          <a:bodyPr lIns="0" tIns="0" rIns="0" bIns="0">
            <a:spAutoFit/>
          </a:bodyPr>
          <a:lstStyle/>
          <a:p>
            <a:pPr algn="l">
              <a:lnSpc>
                <a:spcPct val="95000"/>
              </a:lnSpc>
              <a:spcBef>
                <a:spcPct val="0"/>
              </a:spcBef>
              <a:buFont typeface="Arial" charset="0"/>
              <a:buNone/>
            </a:pPr>
            <a:r>
              <a:rPr lang="en-US" sz="1400" b="1" dirty="0" smtClean="0"/>
              <a:t>STOXX Currency </a:t>
            </a:r>
            <a:r>
              <a:rPr lang="en-US" sz="1400" b="1" dirty="0"/>
              <a:t>h</a:t>
            </a:r>
            <a:r>
              <a:rPr lang="en-US" sz="1400" b="1" dirty="0" smtClean="0"/>
              <a:t>edged </a:t>
            </a:r>
            <a:r>
              <a:rPr lang="en-US" sz="1400" b="1" dirty="0"/>
              <a:t>i</a:t>
            </a:r>
            <a:r>
              <a:rPr lang="en-US" sz="1400" b="1" dirty="0" smtClean="0"/>
              <a:t>ndex suite</a:t>
            </a:r>
          </a:p>
          <a:p>
            <a:pPr algn="l">
              <a:lnSpc>
                <a:spcPct val="95000"/>
              </a:lnSpc>
              <a:spcBef>
                <a:spcPct val="0"/>
              </a:spcBef>
              <a:buFont typeface="Arial" charset="0"/>
              <a:buNone/>
            </a:pPr>
            <a:endParaRPr lang="en-US" sz="1400" b="1" dirty="0"/>
          </a:p>
          <a:p>
            <a:pPr marL="190500" lvl="1" indent="-188913" algn="l">
              <a:lnSpc>
                <a:spcPct val="95000"/>
              </a:lnSpc>
              <a:spcBef>
                <a:spcPct val="0"/>
              </a:spcBef>
              <a:buFont typeface="Arial" charset="0"/>
              <a:buChar char="»"/>
            </a:pPr>
            <a:r>
              <a:rPr lang="en-US" sz="1400" b="0" dirty="0" smtClean="0"/>
              <a:t>Meeting the demand for currency risk hedging</a:t>
            </a:r>
          </a:p>
          <a:p>
            <a:pPr marL="190500" lvl="1" indent="-188913" algn="l">
              <a:lnSpc>
                <a:spcPct val="95000"/>
              </a:lnSpc>
              <a:spcBef>
                <a:spcPct val="0"/>
              </a:spcBef>
              <a:buFont typeface="Arial" charset="0"/>
              <a:buChar char="»"/>
            </a:pPr>
            <a:endParaRPr lang="en-US" sz="1400" b="0" dirty="0" smtClean="0"/>
          </a:p>
          <a:p>
            <a:pPr marL="190500" lvl="1" indent="-188913" algn="l">
              <a:lnSpc>
                <a:spcPct val="95000"/>
              </a:lnSpc>
              <a:spcBef>
                <a:spcPct val="0"/>
              </a:spcBef>
              <a:buFont typeface="Arial" charset="0"/>
              <a:buChar char="»"/>
            </a:pPr>
            <a:r>
              <a:rPr lang="en-US" sz="1400" b="0" dirty="0" smtClean="0"/>
              <a:t>Both daily and monthly versions available</a:t>
            </a:r>
          </a:p>
          <a:p>
            <a:pPr marL="190500" lvl="1" indent="-188913" algn="l">
              <a:lnSpc>
                <a:spcPct val="95000"/>
              </a:lnSpc>
              <a:spcBef>
                <a:spcPct val="0"/>
              </a:spcBef>
              <a:buFont typeface="Arial" charset="0"/>
              <a:buChar char="»"/>
            </a:pPr>
            <a:endParaRPr lang="en-US" sz="1400" b="0" dirty="0" smtClean="0"/>
          </a:p>
          <a:p>
            <a:pPr marL="190500" lvl="1" indent="-188913" algn="l">
              <a:lnSpc>
                <a:spcPct val="95000"/>
              </a:lnSpc>
              <a:spcBef>
                <a:spcPct val="0"/>
              </a:spcBef>
              <a:buFont typeface="Arial" charset="0"/>
              <a:buChar char="»"/>
            </a:pPr>
            <a:r>
              <a:rPr lang="en-US" sz="1400" dirty="0" smtClean="0"/>
              <a:t>All major currencies covered, others available on request</a:t>
            </a:r>
            <a:endParaRPr lang="en-US" sz="1400" b="0" dirty="0"/>
          </a:p>
        </p:txBody>
      </p:sp>
    </p:spTree>
    <p:extLst>
      <p:ext uri="{BB962C8B-B14F-4D97-AF65-F5344CB8AC3E}">
        <p14:creationId xmlns:p14="http://schemas.microsoft.com/office/powerpoint/2010/main" val="14369965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solidFill>
                  <a:srgbClr val="009EE0"/>
                </a:solidFill>
              </a:rPr>
              <a:t>2. Why </a:t>
            </a:r>
            <a:r>
              <a:rPr lang="en-US" dirty="0" smtClean="0">
                <a:solidFill>
                  <a:srgbClr val="009EE0"/>
                </a:solidFill>
              </a:rPr>
              <a:t>investors may need currency hedging</a:t>
            </a:r>
            <a:endParaRPr lang="en-US" dirty="0">
              <a:solidFill>
                <a:schemeClr val="accent5"/>
              </a:solidFill>
            </a:endParaRPr>
          </a:p>
        </p:txBody>
      </p:sp>
    </p:spTree>
    <p:extLst>
      <p:ext uri="{BB962C8B-B14F-4D97-AF65-F5344CB8AC3E}">
        <p14:creationId xmlns:p14="http://schemas.microsoft.com/office/powerpoint/2010/main" val="9643417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Total returns from an investment may be significantly affected by currency exposures</a:t>
            </a:r>
          </a:p>
        </p:txBody>
      </p:sp>
      <p:sp>
        <p:nvSpPr>
          <p:cNvPr id="10" name="Textplatzhalter 9"/>
          <p:cNvSpPr>
            <a:spLocks noGrp="1"/>
          </p:cNvSpPr>
          <p:nvPr>
            <p:ph type="body" sz="quarter" idx="13"/>
          </p:nvPr>
        </p:nvSpPr>
        <p:spPr>
          <a:xfrm>
            <a:off x="368300" y="1338362"/>
            <a:ext cx="9158288" cy="292388"/>
          </a:xfrm>
        </p:spPr>
        <p:txBody>
          <a:bodyPr/>
          <a:lstStyle/>
          <a:p>
            <a:r>
              <a:rPr lang="en-US" dirty="0" smtClean="0"/>
              <a:t>Currency hedging isolates the return from underlying securities</a:t>
            </a:r>
            <a:endParaRPr lang="de-DE" dirty="0" smtClean="0"/>
          </a:p>
        </p:txBody>
      </p:sp>
      <p:sp>
        <p:nvSpPr>
          <p:cNvPr id="36867" name="Rectangle 3"/>
          <p:cNvSpPr>
            <a:spLocks noChangeArrowheads="1"/>
          </p:cNvSpPr>
          <p:nvPr/>
        </p:nvSpPr>
        <p:spPr bwMode="auto">
          <a:xfrm>
            <a:off x="368300" y="2217740"/>
            <a:ext cx="9158288" cy="701731"/>
          </a:xfrm>
          <a:prstGeom prst="rect">
            <a:avLst/>
          </a:prstGeom>
          <a:noFill/>
          <a:ln w="9525">
            <a:noFill/>
            <a:miter lim="800000"/>
            <a:headEnd/>
            <a:tailEnd/>
          </a:ln>
        </p:spPr>
        <p:txBody>
          <a:bodyPr wrap="square" lIns="0" tIns="0" rIns="0" bIns="0">
            <a:spAutoFit/>
          </a:bodyPr>
          <a:lstStyle/>
          <a:p>
            <a:pPr marL="190500" lvl="1" indent="-188913" algn="l">
              <a:lnSpc>
                <a:spcPct val="95000"/>
              </a:lnSpc>
              <a:spcBef>
                <a:spcPct val="0"/>
              </a:spcBef>
              <a:buFont typeface="Arial" charset="0"/>
              <a:buChar char="»"/>
            </a:pPr>
            <a:r>
              <a:rPr lang="en-US" sz="1600" b="0" dirty="0" smtClean="0"/>
              <a:t>Investors typically create their portfolios based on their expectations about securities’ future </a:t>
            </a:r>
            <a:r>
              <a:rPr lang="en-US" sz="1600" b="0" dirty="0" err="1" smtClean="0"/>
              <a:t>behaviour</a:t>
            </a:r>
            <a:endParaRPr lang="en-US" sz="1600" b="0" dirty="0" smtClean="0"/>
          </a:p>
          <a:p>
            <a:pPr marL="190500" lvl="1" indent="-188913" algn="l">
              <a:lnSpc>
                <a:spcPct val="95000"/>
              </a:lnSpc>
              <a:spcBef>
                <a:spcPct val="0"/>
              </a:spcBef>
              <a:buFont typeface="Arial" charset="0"/>
              <a:buChar char="»"/>
            </a:pPr>
            <a:r>
              <a:rPr lang="en-US" sz="1600" dirty="0" smtClean="0"/>
              <a:t>Impact of returns from currency exposure may be not negligible</a:t>
            </a:r>
            <a:endParaRPr lang="en-US" sz="1600" b="0" dirty="0"/>
          </a:p>
        </p:txBody>
      </p:sp>
      <p:sp>
        <p:nvSpPr>
          <p:cNvPr id="36868" name="Rectangle 2"/>
          <p:cNvSpPr>
            <a:spLocks noChangeArrowheads="1"/>
          </p:cNvSpPr>
          <p:nvPr/>
        </p:nvSpPr>
        <p:spPr bwMode="auto">
          <a:xfrm>
            <a:off x="368300" y="1836738"/>
            <a:ext cx="91582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How returns may look like from different (unhedged) currency perspectives</a:t>
            </a:r>
            <a:endParaRPr lang="en-US" sz="1600" b="1" dirty="0">
              <a:solidFill>
                <a:schemeClr val="bg1"/>
              </a:solidFill>
            </a:endParaRPr>
          </a:p>
        </p:txBody>
      </p:sp>
      <p:graphicFrame>
        <p:nvGraphicFramePr>
          <p:cNvPr id="7" name="Object 3"/>
          <p:cNvGraphicFramePr>
            <a:graphicFrameLocks noChangeAspect="1"/>
          </p:cNvGraphicFramePr>
          <p:nvPr>
            <p:extLst>
              <p:ext uri="{D42A27DB-BD31-4B8C-83A1-F6EECF244321}">
                <p14:modId xmlns:p14="http://schemas.microsoft.com/office/powerpoint/2010/main" val="1331996119"/>
              </p:ext>
            </p:extLst>
          </p:nvPr>
        </p:nvGraphicFramePr>
        <p:xfrm>
          <a:off x="368300" y="3019425"/>
          <a:ext cx="4984749" cy="2916128"/>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uppieren 86"/>
          <p:cNvGrpSpPr/>
          <p:nvPr/>
        </p:nvGrpSpPr>
        <p:grpSpPr>
          <a:xfrm>
            <a:off x="632121" y="5857820"/>
            <a:ext cx="4240728" cy="346883"/>
            <a:chOff x="4953000" y="5473572"/>
            <a:chExt cx="4603544" cy="346883"/>
          </a:xfrm>
        </p:grpSpPr>
        <p:grpSp>
          <p:nvGrpSpPr>
            <p:cNvPr id="9" name="Gruppieren 31"/>
            <p:cNvGrpSpPr/>
            <p:nvPr/>
          </p:nvGrpSpPr>
          <p:grpSpPr>
            <a:xfrm>
              <a:off x="4953000" y="5666567"/>
              <a:ext cx="1807421" cy="153888"/>
              <a:chOff x="6861225" y="6027778"/>
              <a:chExt cx="1807421" cy="153888"/>
            </a:xfrm>
          </p:grpSpPr>
          <p:sp>
            <p:nvSpPr>
              <p:cNvPr id="20" name="Rectangle 6"/>
              <p:cNvSpPr>
                <a:spLocks noChangeArrowheads="1"/>
              </p:cNvSpPr>
              <p:nvPr/>
            </p:nvSpPr>
            <p:spPr bwMode="auto">
              <a:xfrm>
                <a:off x="6861225" y="6032541"/>
                <a:ext cx="233850" cy="144463"/>
              </a:xfrm>
              <a:prstGeom prst="rect">
                <a:avLst/>
              </a:prstGeom>
              <a:solidFill>
                <a:schemeClr val="accent3"/>
              </a:solidFill>
              <a:ln w="9525" algn="ctr">
                <a:noFill/>
                <a:miter lim="800000"/>
                <a:headEnd/>
                <a:tailEnd/>
              </a:ln>
            </p:spPr>
            <p:txBody>
              <a:bodyPr wrap="none" lIns="0" tIns="0" rIns="0" bIns="0" anchor="ctr"/>
              <a:lstStyle/>
              <a:p>
                <a:pPr>
                  <a:spcBef>
                    <a:spcPct val="0"/>
                  </a:spcBef>
                </a:pPr>
                <a:endParaRPr lang="en-US" dirty="0"/>
              </a:p>
            </p:txBody>
          </p:sp>
          <p:sp>
            <p:nvSpPr>
              <p:cNvPr id="21" name="Legend"/>
              <p:cNvSpPr txBox="1">
                <a:spLocks noChangeArrowheads="1"/>
              </p:cNvSpPr>
              <p:nvPr/>
            </p:nvSpPr>
            <p:spPr bwMode="auto">
              <a:xfrm>
                <a:off x="7205181" y="6027778"/>
                <a:ext cx="1463465" cy="153888"/>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a:t>EURO STOXX 50 </a:t>
                </a:r>
                <a:r>
                  <a:rPr lang="en-US" sz="1000" dirty="0" smtClean="0"/>
                  <a:t>GR ¥</a:t>
                </a:r>
              </a:p>
            </p:txBody>
          </p:sp>
        </p:grpSp>
        <p:grpSp>
          <p:nvGrpSpPr>
            <p:cNvPr id="12" name="Group 5"/>
            <p:cNvGrpSpPr>
              <a:grpSpLocks/>
            </p:cNvGrpSpPr>
            <p:nvPr/>
          </p:nvGrpSpPr>
          <p:grpSpPr bwMode="auto">
            <a:xfrm>
              <a:off x="7749365" y="5473572"/>
              <a:ext cx="1807179" cy="153988"/>
              <a:chOff x="176" y="3893"/>
              <a:chExt cx="1051" cy="97"/>
            </a:xfrm>
          </p:grpSpPr>
          <p:sp>
            <p:nvSpPr>
              <p:cNvPr id="16" name="Rectangle 6"/>
              <p:cNvSpPr>
                <a:spLocks noChangeArrowheads="1"/>
              </p:cNvSpPr>
              <p:nvPr/>
            </p:nvSpPr>
            <p:spPr bwMode="auto">
              <a:xfrm>
                <a:off x="176" y="3896"/>
                <a:ext cx="136" cy="91"/>
              </a:xfrm>
              <a:prstGeom prst="rect">
                <a:avLst/>
              </a:prstGeom>
              <a:solidFill>
                <a:schemeClr val="accent2"/>
              </a:solidFill>
              <a:ln w="9525" algn="ctr">
                <a:noFill/>
                <a:miter lim="800000"/>
                <a:headEnd/>
                <a:tailEnd/>
              </a:ln>
            </p:spPr>
            <p:txBody>
              <a:bodyPr wrap="none" lIns="0" tIns="0" rIns="0" bIns="0" anchor="ctr"/>
              <a:lstStyle/>
              <a:p>
                <a:pPr>
                  <a:spcBef>
                    <a:spcPct val="0"/>
                  </a:spcBef>
                </a:pPr>
                <a:endParaRPr lang="en-US" dirty="0"/>
              </a:p>
            </p:txBody>
          </p:sp>
          <p:sp>
            <p:nvSpPr>
              <p:cNvPr id="17" name="Legend"/>
              <p:cNvSpPr txBox="1">
                <a:spLocks noChangeArrowheads="1"/>
              </p:cNvSpPr>
              <p:nvPr/>
            </p:nvSpPr>
            <p:spPr bwMode="auto">
              <a:xfrm>
                <a:off x="376" y="3893"/>
                <a:ext cx="851" cy="97"/>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a:t>EURO STOXX 50 </a:t>
                </a:r>
                <a:r>
                  <a:rPr lang="en-US" sz="1000" dirty="0" smtClean="0"/>
                  <a:t>GR $</a:t>
                </a:r>
              </a:p>
            </p:txBody>
          </p:sp>
        </p:grpSp>
        <p:grpSp>
          <p:nvGrpSpPr>
            <p:cNvPr id="13" name="Group 5"/>
            <p:cNvGrpSpPr>
              <a:grpSpLocks/>
            </p:cNvGrpSpPr>
            <p:nvPr/>
          </p:nvGrpSpPr>
          <p:grpSpPr bwMode="auto">
            <a:xfrm>
              <a:off x="4953000" y="5473572"/>
              <a:ext cx="1807180" cy="153988"/>
              <a:chOff x="176" y="3893"/>
              <a:chExt cx="1051" cy="97"/>
            </a:xfrm>
          </p:grpSpPr>
          <p:sp>
            <p:nvSpPr>
              <p:cNvPr id="14" name="Rectangle 6"/>
              <p:cNvSpPr>
                <a:spLocks noChangeArrowheads="1"/>
              </p:cNvSpPr>
              <p:nvPr/>
            </p:nvSpPr>
            <p:spPr bwMode="auto">
              <a:xfrm>
                <a:off x="176" y="3896"/>
                <a:ext cx="136" cy="91"/>
              </a:xfrm>
              <a:prstGeom prst="rect">
                <a:avLst/>
              </a:prstGeom>
              <a:solidFill>
                <a:schemeClr val="accent1"/>
              </a:solidFill>
              <a:ln w="9525" algn="ctr">
                <a:noFill/>
                <a:miter lim="800000"/>
                <a:headEnd/>
                <a:tailEnd/>
              </a:ln>
            </p:spPr>
            <p:txBody>
              <a:bodyPr wrap="none" lIns="0" tIns="0" rIns="0" bIns="0" anchor="ctr"/>
              <a:lstStyle/>
              <a:p>
                <a:pPr>
                  <a:spcBef>
                    <a:spcPct val="0"/>
                  </a:spcBef>
                </a:pPr>
                <a:endParaRPr lang="en-US" dirty="0"/>
              </a:p>
            </p:txBody>
          </p:sp>
          <p:sp>
            <p:nvSpPr>
              <p:cNvPr id="15" name="Legend"/>
              <p:cNvSpPr txBox="1">
                <a:spLocks noChangeArrowheads="1"/>
              </p:cNvSpPr>
              <p:nvPr/>
            </p:nvSpPr>
            <p:spPr bwMode="auto">
              <a:xfrm>
                <a:off x="376" y="3893"/>
                <a:ext cx="851" cy="97"/>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smtClean="0"/>
                  <a:t>EURO STOXX 50 GR €</a:t>
                </a:r>
              </a:p>
            </p:txBody>
          </p:sp>
        </p:grpSp>
      </p:grpSp>
      <p:sp>
        <p:nvSpPr>
          <p:cNvPr id="28" name="Rectangle 3"/>
          <p:cNvSpPr>
            <a:spLocks noChangeArrowheads="1"/>
          </p:cNvSpPr>
          <p:nvPr/>
        </p:nvSpPr>
        <p:spPr bwMode="auto">
          <a:xfrm rot="10800000" flipV="1">
            <a:off x="5791200" y="3138055"/>
            <a:ext cx="3735386" cy="1432700"/>
          </a:xfrm>
          <a:prstGeom prst="rect">
            <a:avLst/>
          </a:prstGeom>
          <a:noFill/>
          <a:ln w="9525">
            <a:noFill/>
            <a:miter lim="800000"/>
            <a:headEnd/>
            <a:tailEnd/>
          </a:ln>
        </p:spPr>
        <p:txBody>
          <a:bodyPr wrap="square" lIns="0" tIns="0" rIns="0" bIns="0">
            <a:spAutoFit/>
          </a:bodyPr>
          <a:lstStyle/>
          <a:p>
            <a:pPr marL="190500" lvl="1" indent="-188913">
              <a:lnSpc>
                <a:spcPct val="95000"/>
              </a:lnSpc>
              <a:spcBef>
                <a:spcPct val="0"/>
              </a:spcBef>
              <a:buFont typeface="Arial" charset="0"/>
              <a:buChar char="»"/>
            </a:pPr>
            <a:r>
              <a:rPr lang="en-US" sz="1400" dirty="0"/>
              <a:t>Similar € returns in both </a:t>
            </a:r>
            <a:r>
              <a:rPr lang="en-US" sz="1400" dirty="0" smtClean="0"/>
              <a:t>periods, but completely different $, ¥ returns:</a:t>
            </a:r>
          </a:p>
          <a:p>
            <a:pPr marL="190500" lvl="1" indent="-188913">
              <a:lnSpc>
                <a:spcPct val="95000"/>
              </a:lnSpc>
              <a:spcBef>
                <a:spcPct val="0"/>
              </a:spcBef>
              <a:buFont typeface="Arial" charset="0"/>
              <a:buChar char="»"/>
            </a:pPr>
            <a:endParaRPr lang="en-US" sz="1400" dirty="0"/>
          </a:p>
          <a:p>
            <a:pPr marL="647700" lvl="2" indent="-188913">
              <a:lnSpc>
                <a:spcPct val="95000"/>
              </a:lnSpc>
              <a:spcBef>
                <a:spcPct val="0"/>
              </a:spcBef>
              <a:buFont typeface="Arial" charset="0"/>
              <a:buChar char="»"/>
            </a:pPr>
            <a:r>
              <a:rPr lang="en-US" sz="1400" dirty="0"/>
              <a:t>$, ¥ depreciated first (positive impact</a:t>
            </a:r>
            <a:r>
              <a:rPr lang="en-US" sz="1400" dirty="0" smtClean="0"/>
              <a:t>)</a:t>
            </a:r>
          </a:p>
          <a:p>
            <a:pPr marL="647700" lvl="2" indent="-188913">
              <a:lnSpc>
                <a:spcPct val="95000"/>
              </a:lnSpc>
              <a:spcBef>
                <a:spcPct val="0"/>
              </a:spcBef>
              <a:buFont typeface="Arial" charset="0"/>
              <a:buChar char="»"/>
            </a:pPr>
            <a:endParaRPr lang="en-US" sz="1400" dirty="0"/>
          </a:p>
          <a:p>
            <a:pPr marL="647700" lvl="2" indent="-188913">
              <a:lnSpc>
                <a:spcPct val="95000"/>
              </a:lnSpc>
              <a:spcBef>
                <a:spcPct val="0"/>
              </a:spcBef>
              <a:buFont typeface="Arial" charset="0"/>
              <a:buChar char="»"/>
            </a:pPr>
            <a:r>
              <a:rPr lang="en-US" sz="1400" dirty="0"/>
              <a:t>$, ¥ </a:t>
            </a:r>
            <a:r>
              <a:rPr lang="en-US" sz="1400" dirty="0" smtClean="0"/>
              <a:t>appreciated </a:t>
            </a:r>
            <a:r>
              <a:rPr lang="en-US" sz="1400" dirty="0" smtClean="0"/>
              <a:t>later again </a:t>
            </a:r>
            <a:r>
              <a:rPr lang="en-US" sz="1400" dirty="0" smtClean="0"/>
              <a:t>(negative </a:t>
            </a:r>
            <a:r>
              <a:rPr lang="en-US" sz="1400" dirty="0"/>
              <a:t>impact)</a:t>
            </a:r>
          </a:p>
        </p:txBody>
      </p:sp>
      <p:sp>
        <p:nvSpPr>
          <p:cNvPr id="29" name="Rectangle 19"/>
          <p:cNvSpPr>
            <a:spLocks noChangeArrowheads="1"/>
          </p:cNvSpPr>
          <p:nvPr/>
        </p:nvSpPr>
        <p:spPr bwMode="auto">
          <a:xfrm>
            <a:off x="5791196" y="5083441"/>
            <a:ext cx="3735391" cy="903159"/>
          </a:xfrm>
          <a:prstGeom prst="rect">
            <a:avLst/>
          </a:prstGeom>
          <a:solidFill>
            <a:srgbClr val="D9D9D9"/>
          </a:solidFill>
          <a:ln w="9525" algn="ctr">
            <a:solidFill>
              <a:srgbClr val="D9D9D9"/>
            </a:solidFill>
            <a:round/>
            <a:headEnd/>
            <a:tailEnd/>
          </a:ln>
        </p:spPr>
        <p:txBody>
          <a:bodyPr wrap="none" lIns="0" tIns="0" rIns="0" bIns="0" anchor="ctr"/>
          <a:lstStyle/>
          <a:p>
            <a:pPr>
              <a:spcBef>
                <a:spcPct val="0"/>
              </a:spcBef>
            </a:pPr>
            <a:endParaRPr lang="en-US" sz="1600" dirty="0"/>
          </a:p>
        </p:txBody>
      </p:sp>
      <p:grpSp>
        <p:nvGrpSpPr>
          <p:cNvPr id="30" name="Group 14"/>
          <p:cNvGrpSpPr>
            <a:grpSpLocks/>
          </p:cNvGrpSpPr>
          <p:nvPr/>
        </p:nvGrpSpPr>
        <p:grpSpPr bwMode="auto">
          <a:xfrm>
            <a:off x="5872160" y="5221554"/>
            <a:ext cx="339725" cy="307975"/>
            <a:chOff x="1603" y="2418"/>
            <a:chExt cx="198" cy="194"/>
          </a:xfrm>
        </p:grpSpPr>
        <p:sp>
          <p:nvSpPr>
            <p:cNvPr id="31" name="Freeform 15"/>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sz="1600" dirty="0"/>
            </a:p>
          </p:txBody>
        </p:sp>
        <p:sp>
          <p:nvSpPr>
            <p:cNvPr id="32" name="Freeform 16"/>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sz="1600" dirty="0"/>
            </a:p>
          </p:txBody>
        </p:sp>
      </p:grpSp>
      <p:sp>
        <p:nvSpPr>
          <p:cNvPr id="33" name="Rectangle 17"/>
          <p:cNvSpPr>
            <a:spLocks noChangeArrowheads="1"/>
          </p:cNvSpPr>
          <p:nvPr/>
        </p:nvSpPr>
        <p:spPr bwMode="auto">
          <a:xfrm>
            <a:off x="6400797" y="5221554"/>
            <a:ext cx="2943228" cy="701731"/>
          </a:xfrm>
          <a:prstGeom prst="rect">
            <a:avLst/>
          </a:prstGeom>
          <a:noFill/>
          <a:ln w="9525" algn="ctr">
            <a:noFill/>
            <a:miter lim="800000"/>
            <a:headEnd/>
            <a:tailEnd/>
          </a:ln>
        </p:spPr>
        <p:txBody>
          <a:bodyPr wrap="square" lIns="0" tIns="0" rIns="0" bIns="0">
            <a:spAutoFit/>
          </a:bodyPr>
          <a:lstStyle/>
          <a:p>
            <a:pPr algn="l">
              <a:lnSpc>
                <a:spcPct val="95000"/>
              </a:lnSpc>
              <a:spcBef>
                <a:spcPct val="0"/>
              </a:spcBef>
              <a:buClr>
                <a:schemeClr val="tx1"/>
              </a:buClr>
              <a:buFont typeface="Arial" charset="0"/>
              <a:buNone/>
            </a:pPr>
            <a:r>
              <a:rPr lang="en-US" sz="1600" b="1" dirty="0" smtClean="0"/>
              <a:t>Currency effects can significantly alter returns from sole equity exposure</a:t>
            </a:r>
            <a:endParaRPr lang="en-US" sz="1600" b="0" dirty="0"/>
          </a:p>
        </p:txBody>
      </p:sp>
    </p:spTree>
    <p:extLst>
      <p:ext uri="{BB962C8B-B14F-4D97-AF65-F5344CB8AC3E}">
        <p14:creationId xmlns:p14="http://schemas.microsoft.com/office/powerpoint/2010/main" val="38442966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solidFill>
                  <a:srgbClr val="009EE0"/>
                </a:solidFill>
              </a:rPr>
              <a:t>3. HOW </a:t>
            </a:r>
            <a:r>
              <a:rPr lang="en-US" dirty="0" smtClean="0">
                <a:solidFill>
                  <a:srgbClr val="009EE0"/>
                </a:solidFill>
              </a:rPr>
              <a:t>a currency forward trade works</a:t>
            </a:r>
            <a:endParaRPr lang="en-US" dirty="0">
              <a:solidFill>
                <a:schemeClr val="accent5"/>
              </a:solidFill>
            </a:endParaRPr>
          </a:p>
        </p:txBody>
      </p:sp>
    </p:spTree>
    <p:extLst>
      <p:ext uri="{BB962C8B-B14F-4D97-AF65-F5344CB8AC3E}">
        <p14:creationId xmlns:p14="http://schemas.microsoft.com/office/powerpoint/2010/main" val="2020414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Trading currency rate forward contracts allows to offset the impact of currency movements</a:t>
            </a:r>
          </a:p>
        </p:txBody>
      </p:sp>
      <p:sp>
        <p:nvSpPr>
          <p:cNvPr id="10" name="Textplatzhalter 9"/>
          <p:cNvSpPr>
            <a:spLocks noGrp="1"/>
          </p:cNvSpPr>
          <p:nvPr>
            <p:ph type="body" sz="quarter" idx="13"/>
          </p:nvPr>
        </p:nvSpPr>
        <p:spPr>
          <a:xfrm>
            <a:off x="368300" y="1338363"/>
            <a:ext cx="9158288" cy="292388"/>
          </a:xfrm>
        </p:spPr>
        <p:txBody>
          <a:bodyPr/>
          <a:lstStyle/>
          <a:p>
            <a:r>
              <a:rPr lang="en-US" dirty="0" smtClean="0"/>
              <a:t>Forwards, being contractual obligations, may result in profits as well as losses</a:t>
            </a:r>
            <a:endParaRPr lang="de-DE" dirty="0" smtClean="0"/>
          </a:p>
        </p:txBody>
      </p:sp>
      <p:sp>
        <p:nvSpPr>
          <p:cNvPr id="36867" name="Rectangle 3"/>
          <p:cNvSpPr>
            <a:spLocks noChangeArrowheads="1"/>
          </p:cNvSpPr>
          <p:nvPr/>
        </p:nvSpPr>
        <p:spPr bwMode="auto">
          <a:xfrm>
            <a:off x="368300" y="2277337"/>
            <a:ext cx="9158288" cy="935641"/>
          </a:xfrm>
          <a:prstGeom prst="rect">
            <a:avLst/>
          </a:prstGeom>
          <a:noFill/>
          <a:ln w="9525">
            <a:noFill/>
            <a:miter lim="800000"/>
            <a:headEnd/>
            <a:tailEnd/>
          </a:ln>
        </p:spPr>
        <p:txBody>
          <a:bodyPr wrap="square" lIns="0" tIns="0" rIns="0" bIns="0">
            <a:spAutoFit/>
          </a:bodyPr>
          <a:lstStyle/>
          <a:p>
            <a:pPr marL="190500" lvl="1" indent="-188913" algn="l">
              <a:lnSpc>
                <a:spcPct val="95000"/>
              </a:lnSpc>
              <a:spcBef>
                <a:spcPct val="0"/>
              </a:spcBef>
              <a:buFont typeface="Arial" charset="0"/>
              <a:buChar char="»"/>
            </a:pPr>
            <a:r>
              <a:rPr lang="en-US" sz="1600" b="0" dirty="0" smtClean="0"/>
              <a:t>In t=0, USD-domiciled Home Company (HC) expects a EUR 100m payment in t=T</a:t>
            </a:r>
          </a:p>
          <a:p>
            <a:pPr marL="190500" lvl="1" indent="-188913">
              <a:lnSpc>
                <a:spcPct val="95000"/>
              </a:lnSpc>
              <a:spcBef>
                <a:spcPct val="0"/>
              </a:spcBef>
              <a:buFont typeface="Arial" charset="0"/>
              <a:buChar char="»"/>
            </a:pPr>
            <a:r>
              <a:rPr lang="en-US" sz="1600" dirty="0" smtClean="0"/>
              <a:t>HC expects its domestic currency (USD) to appreciate against the foreign currency (EUR), i.e. the EUR </a:t>
            </a:r>
            <a:r>
              <a:rPr lang="en-US" sz="1600" dirty="0"/>
              <a:t>100m </a:t>
            </a:r>
            <a:r>
              <a:rPr lang="en-US" sz="1600" dirty="0" smtClean="0"/>
              <a:t>payment will purchase in t=T less USD than it would in t=0</a:t>
            </a:r>
          </a:p>
          <a:p>
            <a:pPr marL="190500" lvl="1" indent="-188913">
              <a:lnSpc>
                <a:spcPct val="95000"/>
              </a:lnSpc>
              <a:spcBef>
                <a:spcPct val="0"/>
              </a:spcBef>
              <a:buFont typeface="Arial" charset="0"/>
              <a:buChar char="»"/>
            </a:pPr>
            <a:r>
              <a:rPr lang="en-US" sz="1600" b="0" dirty="0" smtClean="0"/>
              <a:t>HC enters a forward contract to sell EUR 100m in t=T at an agreed </a:t>
            </a:r>
            <a:r>
              <a:rPr lang="en-US" sz="1600" dirty="0" smtClean="0"/>
              <a:t>forward delivery price</a:t>
            </a:r>
            <a:endParaRPr lang="en-US" sz="1600" b="0" dirty="0" smtClean="0"/>
          </a:p>
        </p:txBody>
      </p:sp>
      <p:sp>
        <p:nvSpPr>
          <p:cNvPr id="36868" name="Rectangle 2"/>
          <p:cNvSpPr>
            <a:spLocks noChangeArrowheads="1"/>
          </p:cNvSpPr>
          <p:nvPr/>
        </p:nvSpPr>
        <p:spPr bwMode="auto">
          <a:xfrm>
            <a:off x="368300" y="1836738"/>
            <a:ext cx="91582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How a forward currency hedge trade works</a:t>
            </a:r>
            <a:endParaRPr lang="en-US" sz="1600" b="1" dirty="0">
              <a:solidFill>
                <a:schemeClr val="bg1"/>
              </a:solidFill>
            </a:endParaRPr>
          </a:p>
        </p:txBody>
      </p:sp>
      <p:sp>
        <p:nvSpPr>
          <p:cNvPr id="34" name="Rectangle 3"/>
          <p:cNvSpPr>
            <a:spLocks noChangeArrowheads="1"/>
          </p:cNvSpPr>
          <p:nvPr/>
        </p:nvSpPr>
        <p:spPr bwMode="auto">
          <a:xfrm>
            <a:off x="372452" y="5013178"/>
            <a:ext cx="9158288" cy="1169551"/>
          </a:xfrm>
          <a:prstGeom prst="rect">
            <a:avLst/>
          </a:prstGeom>
          <a:noFill/>
          <a:ln w="9525">
            <a:noFill/>
            <a:miter lim="800000"/>
            <a:headEnd/>
            <a:tailEnd/>
          </a:ln>
        </p:spPr>
        <p:txBody>
          <a:bodyPr wrap="square" lIns="0" tIns="0" rIns="0" bIns="0">
            <a:spAutoFit/>
          </a:bodyPr>
          <a:lstStyle/>
          <a:p>
            <a:pPr marL="190500" lvl="1" indent="-188913" algn="l">
              <a:lnSpc>
                <a:spcPct val="95000"/>
              </a:lnSpc>
              <a:spcBef>
                <a:spcPct val="0"/>
              </a:spcBef>
              <a:buFont typeface="Arial" charset="0"/>
              <a:buChar char="»"/>
            </a:pPr>
            <a:r>
              <a:rPr lang="en-US" sz="1600" b="0" dirty="0" smtClean="0"/>
              <a:t>Scenario 1: domestic currency appreciates to or above the agreed forward price:</a:t>
            </a:r>
          </a:p>
          <a:p>
            <a:pPr marL="647700" lvl="2" indent="-188913">
              <a:lnSpc>
                <a:spcPct val="95000"/>
              </a:lnSpc>
              <a:spcBef>
                <a:spcPct val="0"/>
              </a:spcBef>
              <a:buFont typeface="Arial" charset="0"/>
              <a:buChar char="»"/>
            </a:pPr>
            <a:r>
              <a:rPr lang="en-US" sz="1600" dirty="0" smtClean="0"/>
              <a:t>USDEUR</a:t>
            </a:r>
            <a:r>
              <a:rPr lang="en-US" sz="1600" baseline="-25000" dirty="0" smtClean="0"/>
              <a:t>T </a:t>
            </a:r>
            <a:r>
              <a:rPr lang="en-US" sz="1600" dirty="0" smtClean="0"/>
              <a:t>≥ </a:t>
            </a:r>
            <a:r>
              <a:rPr lang="en-US" sz="1600" dirty="0" err="1" smtClean="0"/>
              <a:t>USDEUR</a:t>
            </a:r>
            <a:r>
              <a:rPr lang="en-US" sz="1600" baseline="-25000" dirty="0" err="1" smtClean="0"/>
              <a:t>fwd</a:t>
            </a:r>
            <a:r>
              <a:rPr lang="en-US" sz="1600" dirty="0" smtClean="0"/>
              <a:t>: HC records a profit from hedge</a:t>
            </a:r>
          </a:p>
          <a:p>
            <a:pPr marL="458787" lvl="2">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a:t>Scenario </a:t>
            </a:r>
            <a:r>
              <a:rPr lang="en-US" sz="1600" dirty="0" smtClean="0"/>
              <a:t>2: domestic </a:t>
            </a:r>
            <a:r>
              <a:rPr lang="en-US" sz="1600" dirty="0"/>
              <a:t>currency </a:t>
            </a:r>
            <a:r>
              <a:rPr lang="en-US" sz="1600" dirty="0" smtClean="0"/>
              <a:t>depreciates, or appreciates less than the agreed </a:t>
            </a:r>
            <a:r>
              <a:rPr lang="en-US" sz="1600" dirty="0"/>
              <a:t>forward price</a:t>
            </a:r>
            <a:r>
              <a:rPr lang="en-US" sz="1600" dirty="0" smtClean="0"/>
              <a:t>:</a:t>
            </a:r>
          </a:p>
          <a:p>
            <a:pPr marL="647700" lvl="2" indent="-188913">
              <a:lnSpc>
                <a:spcPct val="95000"/>
              </a:lnSpc>
              <a:spcBef>
                <a:spcPct val="0"/>
              </a:spcBef>
              <a:buFont typeface="Arial" charset="0"/>
              <a:buChar char="»"/>
            </a:pPr>
            <a:r>
              <a:rPr lang="en-US" sz="1600" dirty="0" smtClean="0"/>
              <a:t>USDEUR</a:t>
            </a:r>
            <a:r>
              <a:rPr lang="en-US" sz="1600" baseline="-25000" dirty="0" smtClean="0"/>
              <a:t>T </a:t>
            </a:r>
            <a:r>
              <a:rPr lang="en-US" sz="1600" dirty="0" smtClean="0"/>
              <a:t>&lt; </a:t>
            </a:r>
            <a:r>
              <a:rPr lang="en-US" sz="1600" dirty="0" err="1" smtClean="0"/>
              <a:t>USDEUR</a:t>
            </a:r>
            <a:r>
              <a:rPr lang="en-US" sz="1600" baseline="-25000" dirty="0" err="1" smtClean="0"/>
              <a:t>fwd</a:t>
            </a:r>
            <a:r>
              <a:rPr lang="en-US" sz="1600" dirty="0" smtClean="0"/>
              <a:t>: </a:t>
            </a:r>
            <a:r>
              <a:rPr lang="en-US" sz="1600" dirty="0"/>
              <a:t>HC records a </a:t>
            </a:r>
            <a:r>
              <a:rPr lang="en-US" sz="1600" dirty="0" smtClean="0"/>
              <a:t>loss from </a:t>
            </a:r>
            <a:r>
              <a:rPr lang="en-US" sz="1600" dirty="0"/>
              <a:t>hedge</a:t>
            </a:r>
            <a:endParaRPr lang="en-US" sz="1600" b="0" baseline="-25000" dirty="0" smtClean="0"/>
          </a:p>
        </p:txBody>
      </p:sp>
      <p:graphicFrame>
        <p:nvGraphicFramePr>
          <p:cNvPr id="35" name="Object 3"/>
          <p:cNvGraphicFramePr>
            <a:graphicFrameLocks noChangeAspect="1"/>
          </p:cNvGraphicFramePr>
          <p:nvPr>
            <p:extLst>
              <p:ext uri="{D42A27DB-BD31-4B8C-83A1-F6EECF244321}">
                <p14:modId xmlns:p14="http://schemas.microsoft.com/office/powerpoint/2010/main" val="3326128214"/>
              </p:ext>
            </p:extLst>
          </p:nvPr>
        </p:nvGraphicFramePr>
        <p:xfrm>
          <a:off x="550545" y="3429002"/>
          <a:ext cx="4617705" cy="1500659"/>
        </p:xfrm>
        <a:graphic>
          <a:graphicData uri="http://schemas.openxmlformats.org/drawingml/2006/chart">
            <c:chart xmlns:c="http://schemas.openxmlformats.org/drawingml/2006/chart" xmlns:r="http://schemas.openxmlformats.org/officeDocument/2006/relationships" r:id="rId3"/>
          </a:graphicData>
        </a:graphic>
      </p:graphicFrame>
      <p:grpSp>
        <p:nvGrpSpPr>
          <p:cNvPr id="36" name="Gruppieren 86"/>
          <p:cNvGrpSpPr/>
          <p:nvPr/>
        </p:nvGrpSpPr>
        <p:grpSpPr>
          <a:xfrm>
            <a:off x="5748639" y="3938922"/>
            <a:ext cx="3278576" cy="426266"/>
            <a:chOff x="4953000" y="5473552"/>
            <a:chExt cx="5406547" cy="342241"/>
          </a:xfrm>
        </p:grpSpPr>
        <p:grpSp>
          <p:nvGrpSpPr>
            <p:cNvPr id="37" name="Gruppieren 31"/>
            <p:cNvGrpSpPr/>
            <p:nvPr/>
          </p:nvGrpSpPr>
          <p:grpSpPr>
            <a:xfrm>
              <a:off x="4953000" y="5666567"/>
              <a:ext cx="2419055" cy="149226"/>
              <a:chOff x="6861225" y="6027778"/>
              <a:chExt cx="2419055" cy="149226"/>
            </a:xfrm>
          </p:grpSpPr>
          <p:sp>
            <p:nvSpPr>
              <p:cNvPr id="44" name="Rectangle 6"/>
              <p:cNvSpPr>
                <a:spLocks noChangeArrowheads="1"/>
              </p:cNvSpPr>
              <p:nvPr/>
            </p:nvSpPr>
            <p:spPr bwMode="auto">
              <a:xfrm>
                <a:off x="6861225" y="6032541"/>
                <a:ext cx="233850" cy="144463"/>
              </a:xfrm>
              <a:prstGeom prst="rect">
                <a:avLst/>
              </a:prstGeom>
              <a:solidFill>
                <a:schemeClr val="accent3"/>
              </a:solidFill>
              <a:ln w="9525" algn="ctr">
                <a:noFill/>
                <a:miter lim="800000"/>
                <a:headEnd/>
                <a:tailEnd/>
              </a:ln>
            </p:spPr>
            <p:txBody>
              <a:bodyPr wrap="none" lIns="0" tIns="0" rIns="0" bIns="0" anchor="ctr"/>
              <a:lstStyle/>
              <a:p>
                <a:pPr>
                  <a:spcBef>
                    <a:spcPct val="0"/>
                  </a:spcBef>
                </a:pPr>
                <a:endParaRPr lang="en-US" dirty="0"/>
              </a:p>
            </p:txBody>
          </p:sp>
          <p:sp>
            <p:nvSpPr>
              <p:cNvPr id="45" name="Legend"/>
              <p:cNvSpPr txBox="1">
                <a:spLocks noChangeArrowheads="1"/>
              </p:cNvSpPr>
              <p:nvPr/>
            </p:nvSpPr>
            <p:spPr bwMode="auto">
              <a:xfrm>
                <a:off x="7205180" y="6027778"/>
                <a:ext cx="2075100" cy="123554"/>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smtClean="0"/>
                  <a:t>Forward delivery price</a:t>
                </a:r>
              </a:p>
            </p:txBody>
          </p:sp>
        </p:grpSp>
        <p:grpSp>
          <p:nvGrpSpPr>
            <p:cNvPr id="38" name="Group 5"/>
            <p:cNvGrpSpPr>
              <a:grpSpLocks/>
            </p:cNvGrpSpPr>
            <p:nvPr/>
          </p:nvGrpSpPr>
          <p:grpSpPr bwMode="auto">
            <a:xfrm>
              <a:off x="7749365" y="5473552"/>
              <a:ext cx="2610182" cy="149225"/>
              <a:chOff x="176" y="3893"/>
              <a:chExt cx="1518" cy="94"/>
            </a:xfrm>
          </p:grpSpPr>
          <p:sp>
            <p:nvSpPr>
              <p:cNvPr id="42" name="Rectangle 6"/>
              <p:cNvSpPr>
                <a:spLocks noChangeArrowheads="1"/>
              </p:cNvSpPr>
              <p:nvPr/>
            </p:nvSpPr>
            <p:spPr bwMode="auto">
              <a:xfrm>
                <a:off x="176" y="3896"/>
                <a:ext cx="136" cy="91"/>
              </a:xfrm>
              <a:prstGeom prst="rect">
                <a:avLst/>
              </a:prstGeom>
              <a:solidFill>
                <a:schemeClr val="accent2"/>
              </a:solidFill>
              <a:ln w="9525" algn="ctr">
                <a:noFill/>
                <a:miter lim="800000"/>
                <a:headEnd/>
                <a:tailEnd/>
              </a:ln>
            </p:spPr>
            <p:txBody>
              <a:bodyPr wrap="none" lIns="0" tIns="0" rIns="0" bIns="0" anchor="ctr"/>
              <a:lstStyle/>
              <a:p>
                <a:pPr>
                  <a:spcBef>
                    <a:spcPct val="0"/>
                  </a:spcBef>
                </a:pPr>
                <a:endParaRPr lang="en-US" dirty="0"/>
              </a:p>
            </p:txBody>
          </p:sp>
          <p:sp>
            <p:nvSpPr>
              <p:cNvPr id="43" name="Legend"/>
              <p:cNvSpPr txBox="1">
                <a:spLocks noChangeArrowheads="1"/>
              </p:cNvSpPr>
              <p:nvPr/>
            </p:nvSpPr>
            <p:spPr bwMode="auto">
              <a:xfrm>
                <a:off x="376" y="3893"/>
                <a:ext cx="1318" cy="78"/>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smtClean="0"/>
                  <a:t>Scenario 2: depreciation</a:t>
                </a:r>
              </a:p>
            </p:txBody>
          </p:sp>
        </p:grpSp>
        <p:grpSp>
          <p:nvGrpSpPr>
            <p:cNvPr id="39" name="Group 5"/>
            <p:cNvGrpSpPr>
              <a:grpSpLocks/>
            </p:cNvGrpSpPr>
            <p:nvPr/>
          </p:nvGrpSpPr>
          <p:grpSpPr bwMode="auto">
            <a:xfrm>
              <a:off x="4953000" y="5473552"/>
              <a:ext cx="2610180" cy="149225"/>
              <a:chOff x="176" y="3893"/>
              <a:chExt cx="1518" cy="94"/>
            </a:xfrm>
          </p:grpSpPr>
          <p:sp>
            <p:nvSpPr>
              <p:cNvPr id="40" name="Rectangle 6"/>
              <p:cNvSpPr>
                <a:spLocks noChangeArrowheads="1"/>
              </p:cNvSpPr>
              <p:nvPr/>
            </p:nvSpPr>
            <p:spPr bwMode="auto">
              <a:xfrm>
                <a:off x="176" y="3896"/>
                <a:ext cx="136" cy="91"/>
              </a:xfrm>
              <a:prstGeom prst="rect">
                <a:avLst/>
              </a:prstGeom>
              <a:solidFill>
                <a:schemeClr val="accent1"/>
              </a:solidFill>
              <a:ln w="9525" algn="ctr">
                <a:noFill/>
                <a:miter lim="800000"/>
                <a:headEnd/>
                <a:tailEnd/>
              </a:ln>
            </p:spPr>
            <p:txBody>
              <a:bodyPr wrap="none" lIns="0" tIns="0" rIns="0" bIns="0" anchor="ctr"/>
              <a:lstStyle/>
              <a:p>
                <a:pPr>
                  <a:spcBef>
                    <a:spcPct val="0"/>
                  </a:spcBef>
                </a:pPr>
                <a:endParaRPr lang="en-US" dirty="0"/>
              </a:p>
            </p:txBody>
          </p:sp>
          <p:sp>
            <p:nvSpPr>
              <p:cNvPr id="41" name="Legend"/>
              <p:cNvSpPr txBox="1">
                <a:spLocks noChangeArrowheads="1"/>
              </p:cNvSpPr>
              <p:nvPr/>
            </p:nvSpPr>
            <p:spPr bwMode="auto">
              <a:xfrm>
                <a:off x="376" y="3893"/>
                <a:ext cx="1318" cy="78"/>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smtClean="0"/>
                  <a:t>Scenario 1: appreciation</a:t>
                </a:r>
              </a:p>
            </p:txBody>
          </p:sp>
        </p:grpSp>
      </p:grpSp>
      <p:sp>
        <p:nvSpPr>
          <p:cNvPr id="18" name="Rectangle 24"/>
          <p:cNvSpPr>
            <a:spLocks noChangeArrowheads="1"/>
          </p:cNvSpPr>
          <p:nvPr/>
        </p:nvSpPr>
        <p:spPr bwMode="auto">
          <a:xfrm>
            <a:off x="9578181" y="103391"/>
            <a:ext cx="271463" cy="271463"/>
          </a:xfrm>
          <a:prstGeom prst="rect">
            <a:avLst/>
          </a:prstGeom>
          <a:solidFill>
            <a:srgbClr val="92B602"/>
          </a:solidFill>
          <a:ln w="9525">
            <a:noFill/>
            <a:miter lim="800000"/>
            <a:headEnd/>
            <a:tailEnd/>
          </a:ln>
        </p:spPr>
        <p:txBody>
          <a:bodyPr wrap="none" lIns="0" tIns="0" rIns="0" bIns="0" anchor="ctr"/>
          <a:lstStyle/>
          <a:p>
            <a:pPr algn="ctr" eaLnBrk="0" hangingPunct="0">
              <a:spcBef>
                <a:spcPct val="0"/>
              </a:spcBef>
            </a:pPr>
            <a:r>
              <a:rPr kumimoji="1" lang="en-US" sz="1400" b="1" dirty="0">
                <a:solidFill>
                  <a:schemeClr val="bg1"/>
                </a:solidFill>
              </a:rPr>
              <a:t>1</a:t>
            </a:r>
          </a:p>
        </p:txBody>
      </p:sp>
    </p:spTree>
    <p:extLst>
      <p:ext uri="{BB962C8B-B14F-4D97-AF65-F5344CB8AC3E}">
        <p14:creationId xmlns:p14="http://schemas.microsoft.com/office/powerpoint/2010/main" val="9259460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Trading currency rate forward contracts allows to offset the impact of currency movements</a:t>
            </a:r>
          </a:p>
        </p:txBody>
      </p:sp>
      <p:sp>
        <p:nvSpPr>
          <p:cNvPr id="10" name="Textplatzhalter 9"/>
          <p:cNvSpPr>
            <a:spLocks noGrp="1"/>
          </p:cNvSpPr>
          <p:nvPr>
            <p:ph type="body" sz="quarter" idx="13"/>
          </p:nvPr>
        </p:nvSpPr>
        <p:spPr>
          <a:xfrm>
            <a:off x="368300" y="1338363"/>
            <a:ext cx="9158288" cy="292388"/>
          </a:xfrm>
        </p:spPr>
        <p:txBody>
          <a:bodyPr/>
          <a:lstStyle/>
          <a:p>
            <a:r>
              <a:rPr lang="en-US" dirty="0" smtClean="0"/>
              <a:t>Forwards, being contractual obligations, may result in profits as well as losses</a:t>
            </a:r>
            <a:endParaRPr lang="de-DE" dirty="0" smtClean="0"/>
          </a:p>
        </p:txBody>
      </p:sp>
      <p:sp>
        <p:nvSpPr>
          <p:cNvPr id="36868" name="Rectangle 2"/>
          <p:cNvSpPr>
            <a:spLocks noChangeArrowheads="1"/>
          </p:cNvSpPr>
          <p:nvPr/>
        </p:nvSpPr>
        <p:spPr bwMode="auto">
          <a:xfrm>
            <a:off x="368300" y="1836738"/>
            <a:ext cx="91582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How a forward currency hedge trade works /2</a:t>
            </a:r>
            <a:endParaRPr lang="en-US" sz="1600" b="1" dirty="0">
              <a:solidFill>
                <a:schemeClr val="bg1"/>
              </a:solidFil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3997662313"/>
              </p:ext>
            </p:extLst>
          </p:nvPr>
        </p:nvGraphicFramePr>
        <p:xfrm>
          <a:off x="2000673" y="2420888"/>
          <a:ext cx="5705475" cy="1905000"/>
        </p:xfrm>
        <a:graphic>
          <a:graphicData uri="http://schemas.openxmlformats.org/presentationml/2006/ole">
            <mc:AlternateContent xmlns:mc="http://schemas.openxmlformats.org/markup-compatibility/2006">
              <mc:Choice xmlns:v="urn:schemas-microsoft-com:vml" Requires="v">
                <p:oleObj spid="_x0000_s1041" name="Binary Worksheet" r:id="rId4" imgW="5705401" imgH="1905103" progId="Excel.SheetBinaryMacroEnabled.12">
                  <p:embed/>
                </p:oleObj>
              </mc:Choice>
              <mc:Fallback>
                <p:oleObj name="Binary Worksheet" r:id="rId4" imgW="5705401" imgH="1905103" progId="Excel.SheetBinaryMacroEnabled.12">
                  <p:embed/>
                  <p:pic>
                    <p:nvPicPr>
                      <p:cNvPr id="0" name=""/>
                      <p:cNvPicPr/>
                      <p:nvPr/>
                    </p:nvPicPr>
                    <p:blipFill>
                      <a:blip r:embed="rId5"/>
                      <a:stretch>
                        <a:fillRect/>
                      </a:stretch>
                    </p:blipFill>
                    <p:spPr>
                      <a:xfrm>
                        <a:off x="2000673" y="2420888"/>
                        <a:ext cx="5705475" cy="1905000"/>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4" name="Rectangle 3"/>
              <p:cNvSpPr/>
              <p:nvPr/>
            </p:nvSpPr>
            <p:spPr>
              <a:xfrm>
                <a:off x="1958192" y="5440875"/>
                <a:ext cx="5552161" cy="580415"/>
              </a:xfrm>
              <a:prstGeom prst="rect">
                <a:avLst/>
              </a:prstGeom>
            </p:spPr>
            <p:txBody>
              <a:bodyPr wrap="none">
                <a:spAutoFit/>
              </a:bodyPr>
              <a:lstStyle/>
              <a:p>
                <a:pPr algn="ctr"/>
                <a14:m>
                  <m:oMath xmlns:m="http://schemas.openxmlformats.org/officeDocument/2006/math">
                    <m:d>
                      <m:dPr>
                        <m:ctrlPr>
                          <a:rPr lang="en-GB" sz="1400" i="1" smtClean="0">
                            <a:latin typeface="Cambria Math"/>
                          </a:rPr>
                        </m:ctrlPr>
                      </m:dPr>
                      <m:e>
                        <m:f>
                          <m:fPr>
                            <m:ctrlPr>
                              <a:rPr lang="en-GB" sz="1400" i="1">
                                <a:latin typeface="Cambria Math"/>
                              </a:rPr>
                            </m:ctrlPr>
                          </m:fPr>
                          <m:num>
                            <m:sSub>
                              <m:sSubPr>
                                <m:ctrlPr>
                                  <a:rPr lang="en-GB" sz="1400" i="1">
                                    <a:latin typeface="Cambria Math"/>
                                  </a:rPr>
                                </m:ctrlPr>
                              </m:sSubPr>
                              <m:e>
                                <m:r>
                                  <m:rPr>
                                    <m:nor/>
                                  </m:rPr>
                                  <a:rPr lang="de-CH" sz="1400" b="0" i="0" smtClean="0">
                                    <a:latin typeface="Arial" panose="020B0604020202020204" pitchFamily="34" charset="0"/>
                                    <a:cs typeface="Arial" panose="020B0604020202020204" pitchFamily="34" charset="0"/>
                                  </a:rPr>
                                  <m:t>1/</m:t>
                                </m:r>
                                <m:r>
                                  <m:rPr>
                                    <m:nor/>
                                  </m:rPr>
                                  <a:rPr lang="en-US" sz="1400">
                                    <a:latin typeface="Arial" panose="020B0604020202020204" pitchFamily="34" charset="0"/>
                                    <a:cs typeface="Arial" panose="020B0604020202020204" pitchFamily="34" charset="0"/>
                                  </a:rPr>
                                  <m:t>F</m:t>
                                </m:r>
                                <m:r>
                                  <m:rPr>
                                    <m:nor/>
                                  </m:rPr>
                                  <a:rPr lang="de-CH" sz="1400" b="0" i="0" smtClean="0">
                                    <a:latin typeface="Arial" panose="020B0604020202020204" pitchFamily="34" charset="0"/>
                                    <a:cs typeface="Arial" panose="020B0604020202020204" pitchFamily="34" charset="0"/>
                                  </a:rPr>
                                  <m:t>F</m:t>
                                </m:r>
                              </m:e>
                              <m:sub>
                                <m:r>
                                  <m:rPr>
                                    <m:nor/>
                                  </m:rPr>
                                  <a:rPr lang="en-US" sz="1400">
                                    <a:latin typeface="Arial" panose="020B0604020202020204" pitchFamily="34" charset="0"/>
                                    <a:cs typeface="Arial" panose="020B0604020202020204" pitchFamily="34" charset="0"/>
                                  </a:rPr>
                                  <m:t>0</m:t>
                                </m:r>
                              </m:sub>
                            </m:sSub>
                          </m:num>
                          <m:den>
                            <m:sSub>
                              <m:sSubPr>
                                <m:ctrlPr>
                                  <a:rPr lang="en-GB" sz="1400" i="1">
                                    <a:latin typeface="Cambria Math"/>
                                  </a:rPr>
                                </m:ctrlPr>
                              </m:sSubPr>
                              <m:e>
                                <m:r>
                                  <m:rPr>
                                    <m:nor/>
                                  </m:rPr>
                                  <a:rPr lang="de-CH" sz="1400">
                                    <a:latin typeface="Arial" panose="020B0604020202020204" pitchFamily="34" charset="0"/>
                                    <a:cs typeface="Arial" panose="020B0604020202020204" pitchFamily="34" charset="0"/>
                                  </a:rPr>
                                  <m:t>1/</m:t>
                                </m:r>
                                <m:r>
                                  <m:rPr>
                                    <m:nor/>
                                  </m:rPr>
                                  <a:rPr lang="en-US" sz="1400">
                                    <a:latin typeface="Arial" panose="020B0604020202020204" pitchFamily="34" charset="0"/>
                                    <a:cs typeface="Arial" panose="020B0604020202020204" pitchFamily="34" charset="0"/>
                                  </a:rPr>
                                  <m:t>F</m:t>
                                </m:r>
                                <m:r>
                                  <m:rPr>
                                    <m:nor/>
                                  </m:rPr>
                                  <a:rPr lang="de-CH" sz="1400" b="0" i="0" smtClean="0">
                                    <a:latin typeface="Arial" panose="020B0604020202020204" pitchFamily="34" charset="0"/>
                                    <a:cs typeface="Arial" panose="020B0604020202020204" pitchFamily="34" charset="0"/>
                                  </a:rPr>
                                  <m:t>X</m:t>
                                </m:r>
                              </m:e>
                              <m:sub>
                                <m:r>
                                  <m:rPr>
                                    <m:nor/>
                                  </m:rPr>
                                  <a:rPr lang="en-US" sz="1400">
                                    <a:latin typeface="Arial" panose="020B0604020202020204" pitchFamily="34" charset="0"/>
                                    <a:cs typeface="Arial" panose="020B0604020202020204" pitchFamily="34" charset="0"/>
                                  </a:rPr>
                                  <m:t>0</m:t>
                                </m:r>
                              </m:sub>
                            </m:sSub>
                          </m:den>
                        </m:f>
                        <m:r>
                          <m:rPr>
                            <m:nor/>
                          </m:rPr>
                          <a:rPr lang="de-CH" sz="1400">
                            <a:latin typeface="Arial" panose="020B0604020202020204" pitchFamily="34" charset="0"/>
                            <a:cs typeface="Arial" panose="020B0604020202020204" pitchFamily="34" charset="0"/>
                          </a:rPr>
                          <m:t>−1</m:t>
                        </m:r>
                      </m:e>
                    </m:d>
                    <m:r>
                      <m:rPr>
                        <m:nor/>
                      </m:rPr>
                      <a:rPr lang="en-US" sz="1400">
                        <a:latin typeface="Arial" panose="020B0604020202020204" pitchFamily="34" charset="0"/>
                        <a:cs typeface="Arial" panose="020B0604020202020204" pitchFamily="34" charset="0"/>
                      </a:rPr>
                      <m:t>−</m:t>
                    </m:r>
                    <m:d>
                      <m:dPr>
                        <m:ctrlPr>
                          <a:rPr lang="en-US" sz="1400" i="1">
                            <a:latin typeface="Cambria Math"/>
                          </a:rPr>
                        </m:ctrlPr>
                      </m:dPr>
                      <m:e>
                        <m:f>
                          <m:fPr>
                            <m:ctrlPr>
                              <a:rPr lang="en-GB" sz="1400" i="1">
                                <a:latin typeface="Cambria Math"/>
                              </a:rPr>
                            </m:ctrlPr>
                          </m:fPr>
                          <m:num>
                            <m:sSub>
                              <m:sSubPr>
                                <m:ctrlPr>
                                  <a:rPr lang="en-GB" sz="1400" i="1">
                                    <a:latin typeface="Cambria Math"/>
                                  </a:rPr>
                                </m:ctrlPr>
                              </m:sSubPr>
                              <m:e>
                                <m:r>
                                  <m:rPr>
                                    <m:nor/>
                                  </m:rPr>
                                  <a:rPr lang="de-CH" sz="1400">
                                    <a:latin typeface="Arial" panose="020B0604020202020204" pitchFamily="34" charset="0"/>
                                    <a:cs typeface="Arial" panose="020B0604020202020204" pitchFamily="34" charset="0"/>
                                  </a:rPr>
                                  <m:t>1/</m:t>
                                </m:r>
                                <m:r>
                                  <m:rPr>
                                    <m:nor/>
                                  </m:rPr>
                                  <a:rPr lang="en-US" sz="1400">
                                    <a:latin typeface="Arial" panose="020B0604020202020204" pitchFamily="34" charset="0"/>
                                    <a:cs typeface="Arial" panose="020B0604020202020204" pitchFamily="34" charset="0"/>
                                  </a:rPr>
                                  <m:t>F</m:t>
                                </m:r>
                                <m:r>
                                  <m:rPr>
                                    <m:nor/>
                                  </m:rPr>
                                  <a:rPr lang="de-CH" sz="1400" b="0" i="0" smtClean="0">
                                    <a:latin typeface="Arial" panose="020B0604020202020204" pitchFamily="34" charset="0"/>
                                    <a:cs typeface="Arial" panose="020B0604020202020204" pitchFamily="34" charset="0"/>
                                  </a:rPr>
                                  <m:t>X</m:t>
                                </m:r>
                              </m:e>
                              <m:sub>
                                <m:r>
                                  <m:rPr>
                                    <m:nor/>
                                  </m:rPr>
                                  <a:rPr lang="de-CH" sz="1400" b="0" i="0" smtClean="0">
                                    <a:latin typeface="Arial" panose="020B0604020202020204" pitchFamily="34" charset="0"/>
                                    <a:cs typeface="Arial" panose="020B0604020202020204" pitchFamily="34" charset="0"/>
                                  </a:rPr>
                                  <m:t>T</m:t>
                                </m:r>
                              </m:sub>
                            </m:sSub>
                          </m:num>
                          <m:den>
                            <m:sSub>
                              <m:sSubPr>
                                <m:ctrlPr>
                                  <a:rPr lang="en-GB" sz="1400" i="1">
                                    <a:latin typeface="Cambria Math"/>
                                  </a:rPr>
                                </m:ctrlPr>
                              </m:sSubPr>
                              <m:e>
                                <m:r>
                                  <m:rPr>
                                    <m:nor/>
                                  </m:rPr>
                                  <a:rPr lang="de-CH" sz="1400">
                                    <a:latin typeface="Arial" panose="020B0604020202020204" pitchFamily="34" charset="0"/>
                                    <a:cs typeface="Arial" panose="020B0604020202020204" pitchFamily="34" charset="0"/>
                                  </a:rPr>
                                  <m:t>1/</m:t>
                                </m:r>
                                <m:r>
                                  <m:rPr>
                                    <m:nor/>
                                  </m:rPr>
                                  <a:rPr lang="en-US" sz="1400">
                                    <a:latin typeface="Arial" panose="020B0604020202020204" pitchFamily="34" charset="0"/>
                                    <a:cs typeface="Arial" panose="020B0604020202020204" pitchFamily="34" charset="0"/>
                                  </a:rPr>
                                  <m:t>F</m:t>
                                </m:r>
                                <m:r>
                                  <m:rPr>
                                    <m:nor/>
                                  </m:rPr>
                                  <a:rPr lang="de-CH" sz="1400">
                                    <a:latin typeface="Arial" panose="020B0604020202020204" pitchFamily="34" charset="0"/>
                                    <a:cs typeface="Arial" panose="020B0604020202020204" pitchFamily="34" charset="0"/>
                                  </a:rPr>
                                  <m:t>X</m:t>
                                </m:r>
                              </m:e>
                              <m:sub>
                                <m:r>
                                  <m:rPr>
                                    <m:nor/>
                                  </m:rPr>
                                  <a:rPr lang="en-US" sz="1400">
                                    <a:latin typeface="Arial" panose="020B0604020202020204" pitchFamily="34" charset="0"/>
                                    <a:cs typeface="Arial" panose="020B0604020202020204" pitchFamily="34" charset="0"/>
                                  </a:rPr>
                                  <m:t>0</m:t>
                                </m:r>
                              </m:sub>
                            </m:sSub>
                          </m:den>
                        </m:f>
                        <m:r>
                          <m:rPr>
                            <m:nor/>
                          </m:rPr>
                          <a:rPr lang="de-CH" sz="1400">
                            <a:latin typeface="Arial" panose="020B0604020202020204" pitchFamily="34" charset="0"/>
                            <a:cs typeface="Arial" panose="020B0604020202020204" pitchFamily="34" charset="0"/>
                          </a:rPr>
                          <m:t>−1</m:t>
                        </m:r>
                      </m:e>
                    </m:d>
                    <m:r>
                      <m:rPr>
                        <m:nor/>
                      </m:rPr>
                      <a:rPr lang="de-CH" sz="1400">
                        <a:latin typeface="Arial" panose="020B0604020202020204" pitchFamily="34" charset="0"/>
                        <a:cs typeface="Arial" panose="020B0604020202020204" pitchFamily="34" charset="0"/>
                      </a:rPr>
                      <m:t> =</m:t>
                    </m:r>
                    <m:r>
                      <a:rPr lang="de-CH" sz="1400" b="0" i="1" smtClean="0">
                        <a:latin typeface="Cambria Math"/>
                        <a:cs typeface="Arial" panose="020B0604020202020204" pitchFamily="34" charset="0"/>
                      </a:rPr>
                      <m:t> </m:t>
                    </m:r>
                    <m:f>
                      <m:fPr>
                        <m:ctrlPr>
                          <a:rPr lang="en-GB" sz="1400" i="1">
                            <a:latin typeface="Cambria Math"/>
                          </a:rPr>
                        </m:ctrlPr>
                      </m:fPr>
                      <m:num>
                        <m:sSub>
                          <m:sSubPr>
                            <m:ctrlPr>
                              <a:rPr lang="en-GB" sz="1400" i="1">
                                <a:latin typeface="Cambria Math"/>
                              </a:rPr>
                            </m:ctrlPr>
                          </m:sSubPr>
                          <m:e>
                            <m:r>
                              <m:rPr>
                                <m:nor/>
                              </m:rPr>
                              <a:rPr lang="en-US" sz="1400">
                                <a:latin typeface="Arial" panose="020B0604020202020204" pitchFamily="34" charset="0"/>
                                <a:cs typeface="Arial" panose="020B0604020202020204" pitchFamily="34" charset="0"/>
                              </a:rPr>
                              <m:t>FX</m:t>
                            </m:r>
                          </m:e>
                          <m:sub>
                            <m:r>
                              <m:rPr>
                                <m:nor/>
                              </m:rPr>
                              <a:rPr lang="en-US" sz="1400">
                                <a:latin typeface="Arial" panose="020B0604020202020204" pitchFamily="34" charset="0"/>
                                <a:cs typeface="Arial" panose="020B0604020202020204" pitchFamily="34" charset="0"/>
                              </a:rPr>
                              <m:t>0</m:t>
                            </m:r>
                          </m:sub>
                        </m:sSub>
                      </m:num>
                      <m:den>
                        <m:sSub>
                          <m:sSubPr>
                            <m:ctrlPr>
                              <a:rPr lang="en-GB" sz="1400" i="1">
                                <a:latin typeface="Cambria Math"/>
                              </a:rPr>
                            </m:ctrlPr>
                          </m:sSubPr>
                          <m:e>
                            <m:r>
                              <m:rPr>
                                <m:nor/>
                              </m:rPr>
                              <a:rPr lang="en-US" sz="1400">
                                <a:latin typeface="Arial" panose="020B0604020202020204" pitchFamily="34" charset="0"/>
                                <a:cs typeface="Arial" panose="020B0604020202020204" pitchFamily="34" charset="0"/>
                              </a:rPr>
                              <m:t>F</m:t>
                            </m:r>
                            <m:r>
                              <m:rPr>
                                <m:nor/>
                              </m:rPr>
                              <a:rPr lang="de-CH" sz="1400">
                                <a:latin typeface="Arial" panose="020B0604020202020204" pitchFamily="34" charset="0"/>
                                <a:cs typeface="Arial" panose="020B0604020202020204" pitchFamily="34" charset="0"/>
                              </a:rPr>
                              <m:t>F</m:t>
                            </m:r>
                          </m:e>
                          <m:sub>
                            <m:r>
                              <m:rPr>
                                <m:nor/>
                              </m:rPr>
                              <a:rPr lang="de-CH" sz="1400">
                                <a:latin typeface="Arial" panose="020B0604020202020204" pitchFamily="34" charset="0"/>
                                <a:cs typeface="Arial" panose="020B0604020202020204" pitchFamily="34" charset="0"/>
                              </a:rPr>
                              <m:t>0</m:t>
                            </m:r>
                          </m:sub>
                        </m:sSub>
                      </m:den>
                    </m:f>
                    <m:r>
                      <m:rPr>
                        <m:nor/>
                      </m:rPr>
                      <a:rPr lang="de-CH" sz="1400">
                        <a:latin typeface="Arial" panose="020B0604020202020204" pitchFamily="34" charset="0"/>
                        <a:cs typeface="Arial" panose="020B0604020202020204" pitchFamily="34" charset="0"/>
                      </a:rPr>
                      <m:t>−</m:t>
                    </m:r>
                    <m:f>
                      <m:fPr>
                        <m:ctrlPr>
                          <a:rPr lang="en-GB" sz="1400" i="1">
                            <a:latin typeface="Cambria Math"/>
                          </a:rPr>
                        </m:ctrlPr>
                      </m:fPr>
                      <m:num>
                        <m:sSub>
                          <m:sSubPr>
                            <m:ctrlPr>
                              <a:rPr lang="en-GB" sz="1400" i="1">
                                <a:latin typeface="Cambria Math"/>
                              </a:rPr>
                            </m:ctrlPr>
                          </m:sSubPr>
                          <m:e>
                            <m:r>
                              <m:rPr>
                                <m:nor/>
                              </m:rPr>
                              <a:rPr lang="en-US" sz="1400">
                                <a:latin typeface="Arial" panose="020B0604020202020204" pitchFamily="34" charset="0"/>
                                <a:cs typeface="Arial" panose="020B0604020202020204" pitchFamily="34" charset="0"/>
                              </a:rPr>
                              <m:t>FX</m:t>
                            </m:r>
                          </m:e>
                          <m:sub>
                            <m:r>
                              <m:rPr>
                                <m:nor/>
                              </m:rPr>
                              <a:rPr lang="en-US" sz="1400">
                                <a:latin typeface="Arial" panose="020B0604020202020204" pitchFamily="34" charset="0"/>
                                <a:cs typeface="Arial" panose="020B0604020202020204" pitchFamily="34" charset="0"/>
                              </a:rPr>
                              <m:t>0</m:t>
                            </m:r>
                          </m:sub>
                        </m:sSub>
                      </m:num>
                      <m:den>
                        <m:sSub>
                          <m:sSubPr>
                            <m:ctrlPr>
                              <a:rPr lang="en-GB" sz="1400" i="1">
                                <a:latin typeface="Cambria Math"/>
                              </a:rPr>
                            </m:ctrlPr>
                          </m:sSubPr>
                          <m:e>
                            <m:r>
                              <m:rPr>
                                <m:nor/>
                              </m:rPr>
                              <a:rPr lang="en-US" sz="1400">
                                <a:latin typeface="Arial" panose="020B0604020202020204" pitchFamily="34" charset="0"/>
                                <a:cs typeface="Arial" panose="020B0604020202020204" pitchFamily="34" charset="0"/>
                              </a:rPr>
                              <m:t>F</m:t>
                            </m:r>
                            <m:r>
                              <m:rPr>
                                <m:nor/>
                              </m:rPr>
                              <a:rPr lang="de-CH" sz="1400">
                                <a:latin typeface="Arial" panose="020B0604020202020204" pitchFamily="34" charset="0"/>
                                <a:cs typeface="Arial" panose="020B0604020202020204" pitchFamily="34" charset="0"/>
                              </a:rPr>
                              <m:t>X</m:t>
                            </m:r>
                          </m:e>
                          <m:sub>
                            <m:r>
                              <m:rPr>
                                <m:nor/>
                              </m:rPr>
                              <a:rPr lang="de-CH" sz="1400">
                                <a:latin typeface="Arial" panose="020B0604020202020204" pitchFamily="34" charset="0"/>
                                <a:cs typeface="Arial" panose="020B0604020202020204" pitchFamily="34" charset="0"/>
                              </a:rPr>
                              <m:t>T</m:t>
                            </m:r>
                          </m:sub>
                        </m:sSub>
                      </m:den>
                    </m:f>
                    <m:r>
                      <m:rPr>
                        <m:nor/>
                      </m:rPr>
                      <a:rPr lang="de-CH" sz="1400" b="0" i="0" smtClean="0">
                        <a:latin typeface="Cambria Math"/>
                        <a:cs typeface="Arial" panose="020B0604020202020204" pitchFamily="34" charset="0"/>
                      </a:rPr>
                      <m:t> </m:t>
                    </m:r>
                    <m:r>
                      <m:rPr>
                        <m:nor/>
                      </m:rPr>
                      <a:rPr lang="de-CH" sz="1400" b="0" i="0" smtClean="0">
                        <a:latin typeface="Arial" panose="020B0604020202020204" pitchFamily="34" charset="0"/>
                        <a:cs typeface="Arial" panose="020B0604020202020204" pitchFamily="34" charset="0"/>
                      </a:rPr>
                      <m:t>= </m:t>
                    </m:r>
                    <m:f>
                      <m:fPr>
                        <m:ctrlPr>
                          <a:rPr lang="en-GB" sz="1400" i="1">
                            <a:latin typeface="Cambria Math"/>
                          </a:rPr>
                        </m:ctrlPr>
                      </m:fPr>
                      <m:num>
                        <m:r>
                          <m:rPr>
                            <m:nor/>
                          </m:rPr>
                          <a:rPr lang="de-CH" sz="1400" b="0" i="0" smtClean="0">
                            <a:latin typeface="Arial" panose="020B0604020202020204" pitchFamily="34" charset="0"/>
                            <a:cs typeface="Arial" panose="020B0604020202020204" pitchFamily="34" charset="0"/>
                          </a:rPr>
                          <m:t>0.6667</m:t>
                        </m:r>
                      </m:num>
                      <m:den>
                        <m:r>
                          <m:rPr>
                            <m:nor/>
                          </m:rPr>
                          <a:rPr lang="de-CH" sz="1400" b="0" i="0" smtClean="0">
                            <a:latin typeface="Arial" panose="020B0604020202020204" pitchFamily="34" charset="0"/>
                            <a:cs typeface="Arial" panose="020B0604020202020204" pitchFamily="34" charset="0"/>
                          </a:rPr>
                          <m:t>0.7692</m:t>
                        </m:r>
                      </m:den>
                    </m:f>
                    <m:r>
                      <m:rPr>
                        <m:nor/>
                      </m:rPr>
                      <a:rPr lang="en-US" sz="1400" i="0">
                        <a:latin typeface="Arial" panose="020B0604020202020204" pitchFamily="34" charset="0"/>
                        <a:cs typeface="Arial" panose="020B0604020202020204" pitchFamily="34" charset="0"/>
                      </a:rPr>
                      <m:t>−</m:t>
                    </m:r>
                    <m:f>
                      <m:fPr>
                        <m:ctrlPr>
                          <a:rPr lang="en-GB" sz="1400" i="1">
                            <a:latin typeface="Cambria Math"/>
                          </a:rPr>
                        </m:ctrlPr>
                      </m:fPr>
                      <m:num>
                        <m:r>
                          <m:rPr>
                            <m:nor/>
                          </m:rPr>
                          <a:rPr lang="de-CH" sz="1400" i="0">
                            <a:latin typeface="Arial" panose="020B0604020202020204" pitchFamily="34" charset="0"/>
                            <a:cs typeface="Arial" panose="020B0604020202020204" pitchFamily="34" charset="0"/>
                          </a:rPr>
                          <m:t>0.6667</m:t>
                        </m:r>
                      </m:num>
                      <m:den>
                        <m:r>
                          <m:rPr>
                            <m:nor/>
                          </m:rPr>
                          <a:rPr lang="de-CH" sz="1400" b="0" i="0" smtClean="0">
                            <a:latin typeface="Arial" panose="020B0604020202020204" pitchFamily="34" charset="0"/>
                            <a:cs typeface="Arial" panose="020B0604020202020204" pitchFamily="34" charset="0"/>
                          </a:rPr>
                          <m:t>0.8696</m:t>
                        </m:r>
                      </m:den>
                    </m:f>
                    <m:r>
                      <m:rPr>
                        <m:nor/>
                      </m:rPr>
                      <a:rPr lang="de-CH" sz="1400" b="0" i="0" smtClean="0">
                        <a:latin typeface="Arial" panose="020B0604020202020204" pitchFamily="34" charset="0"/>
                        <a:cs typeface="Arial" panose="020B0604020202020204" pitchFamily="34" charset="0"/>
                      </a:rPr>
                      <m:t> </m:t>
                    </m:r>
                  </m:oMath>
                </a14:m>
                <a:r>
                  <a:rPr lang="en-GB" sz="1400" dirty="0" smtClean="0">
                    <a:latin typeface="Arial" panose="020B0604020202020204" pitchFamily="34" charset="0"/>
                    <a:cs typeface="Arial" panose="020B0604020202020204" pitchFamily="34" charset="0"/>
                  </a:rPr>
                  <a:t>= 10.0%</a:t>
                </a:r>
                <a:endParaRPr lang="en-GB" sz="1400" dirty="0">
                  <a:latin typeface="Arial" panose="020B0604020202020204" pitchFamily="34" charset="0"/>
                  <a:cs typeface="Arial" panose="020B0604020202020204" pitchFamily="34" charset="0"/>
                </a:endParaRPr>
              </a:p>
            </p:txBody>
          </p:sp>
        </mc:Choice>
        <mc:Fallback xmlns="">
          <p:sp>
            <p:nvSpPr>
              <p:cNvPr id="4" name="Rectangle 3"/>
              <p:cNvSpPr>
                <a:spLocks noRot="1" noChangeAspect="1" noMove="1" noResize="1" noEditPoints="1" noAdjustHandles="1" noChangeArrowheads="1" noChangeShapeType="1" noTextEdit="1"/>
              </p:cNvSpPr>
              <p:nvPr/>
            </p:nvSpPr>
            <p:spPr>
              <a:xfrm>
                <a:off x="2000672" y="5440873"/>
                <a:ext cx="5467202" cy="580415"/>
              </a:xfrm>
              <a:prstGeom prst="rect">
                <a:avLst/>
              </a:prstGeom>
              <a:blipFill rotWithShape="1">
                <a:blip r:embed="rId7"/>
                <a:stretch>
                  <a:fillRect r="-223"/>
                </a:stretch>
              </a:blipFill>
            </p:spPr>
            <p:txBody>
              <a:bodyPr/>
              <a:lstStyle/>
              <a:p>
                <a:r>
                  <a:rPr lang="en-GB">
                    <a:noFill/>
                  </a:rPr>
                  <a:t> </a:t>
                </a:r>
              </a:p>
            </p:txBody>
          </p:sp>
        </mc:Fallback>
      </mc:AlternateContent>
      <p:sp>
        <p:nvSpPr>
          <p:cNvPr id="21" name="Rectangle 3"/>
          <p:cNvSpPr>
            <a:spLocks noChangeArrowheads="1"/>
          </p:cNvSpPr>
          <p:nvPr/>
        </p:nvSpPr>
        <p:spPr bwMode="auto">
          <a:xfrm>
            <a:off x="368300" y="4613327"/>
            <a:ext cx="9158288" cy="701731"/>
          </a:xfrm>
          <a:prstGeom prst="rect">
            <a:avLst/>
          </a:prstGeom>
          <a:noFill/>
          <a:ln w="9525">
            <a:noFill/>
            <a:miter lim="800000"/>
            <a:headEnd/>
            <a:tailEnd/>
          </a:ln>
        </p:spPr>
        <p:txBody>
          <a:bodyPr wrap="square" lIns="0" tIns="0" rIns="0" bIns="0">
            <a:spAutoFit/>
          </a:bodyPr>
          <a:lstStyle/>
          <a:p>
            <a:pPr marL="190500" lvl="1" indent="-188913">
              <a:lnSpc>
                <a:spcPct val="95000"/>
              </a:lnSpc>
              <a:spcBef>
                <a:spcPct val="0"/>
              </a:spcBef>
              <a:buFont typeface="Arial" charset="0"/>
              <a:buChar char="»"/>
            </a:pPr>
            <a:r>
              <a:rPr lang="en-US" sz="1600" b="0" dirty="0" smtClean="0"/>
              <a:t>Equivalently, the hedge P&amp;L can be seen as the difference between the returns from purchasing EUR at spot and reselling EUR at forward vs</a:t>
            </a:r>
            <a:r>
              <a:rPr lang="en-US" sz="1600" dirty="0"/>
              <a:t>. purchasing EUR </a:t>
            </a:r>
            <a:r>
              <a:rPr lang="en-US" sz="1600" dirty="0" smtClean="0"/>
              <a:t>at spot </a:t>
            </a:r>
            <a:r>
              <a:rPr lang="en-US" sz="1600" dirty="0"/>
              <a:t>and reselling EUR </a:t>
            </a:r>
            <a:r>
              <a:rPr lang="en-US" sz="1600" dirty="0" smtClean="0"/>
              <a:t>at the prevailing rate in T:</a:t>
            </a:r>
          </a:p>
        </p:txBody>
      </p:sp>
      <p:sp>
        <p:nvSpPr>
          <p:cNvPr id="8" name="Rectangle 24"/>
          <p:cNvSpPr>
            <a:spLocks noChangeArrowheads="1"/>
          </p:cNvSpPr>
          <p:nvPr/>
        </p:nvSpPr>
        <p:spPr bwMode="auto">
          <a:xfrm>
            <a:off x="9578181" y="103391"/>
            <a:ext cx="271463" cy="271463"/>
          </a:xfrm>
          <a:prstGeom prst="rect">
            <a:avLst/>
          </a:prstGeom>
          <a:solidFill>
            <a:srgbClr val="92B602"/>
          </a:solidFill>
          <a:ln w="9525">
            <a:noFill/>
            <a:miter lim="800000"/>
            <a:headEnd/>
            <a:tailEnd/>
          </a:ln>
        </p:spPr>
        <p:txBody>
          <a:bodyPr wrap="none" lIns="0" tIns="0" rIns="0" bIns="0" anchor="ctr"/>
          <a:lstStyle/>
          <a:p>
            <a:pPr algn="ctr" eaLnBrk="0" hangingPunct="0">
              <a:spcBef>
                <a:spcPct val="0"/>
              </a:spcBef>
            </a:pPr>
            <a:r>
              <a:rPr kumimoji="1" lang="en-US" sz="1400" b="1" dirty="0" smtClean="0">
                <a:solidFill>
                  <a:schemeClr val="bg1"/>
                </a:solidFill>
              </a:rPr>
              <a:t>2</a:t>
            </a:r>
            <a:endParaRPr kumimoji="1" lang="en-US" sz="1400" b="1" dirty="0">
              <a:solidFill>
                <a:schemeClr val="bg1"/>
              </a:solidFill>
            </a:endParaRPr>
          </a:p>
        </p:txBody>
      </p:sp>
    </p:spTree>
    <p:extLst>
      <p:ext uri="{BB962C8B-B14F-4D97-AF65-F5344CB8AC3E}">
        <p14:creationId xmlns:p14="http://schemas.microsoft.com/office/powerpoint/2010/main" val="14081389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7CD09E71-C33C-436D-9525-9ADAFCC26A8B}"/>
</file>

<file path=customXml/itemProps2.xml><?xml version="1.0" encoding="utf-8"?>
<ds:datastoreItem xmlns:ds="http://schemas.openxmlformats.org/officeDocument/2006/customXml" ds:itemID="{E5E93C3F-6ADD-43E4-8455-C5C288495D2B}"/>
</file>

<file path=customXml/itemProps3.xml><?xml version="1.0" encoding="utf-8"?>
<ds:datastoreItem xmlns:ds="http://schemas.openxmlformats.org/officeDocument/2006/customXml" ds:itemID="{9586988D-4F6D-4194-981E-6C094E198C5B}"/>
</file>

<file path=docProps/app.xml><?xml version="1.0" encoding="utf-8"?>
<Properties xmlns="http://schemas.openxmlformats.org/officeDocument/2006/extended-properties" xmlns:vt="http://schemas.openxmlformats.org/officeDocument/2006/docPropsVTypes">
  <Template/>
  <TotalTime>0</TotalTime>
  <Words>1681</Words>
  <Application>Microsoft Office PowerPoint</Application>
  <PresentationFormat>A4 Paper (210x297 mm)</PresentationFormat>
  <Paragraphs>211</Paragraphs>
  <Slides>18</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1" baseType="lpstr">
      <vt:lpstr>Template STOXX Presentations 2.0</vt:lpstr>
      <vt:lpstr>Template STOXX Presentations 2.0.</vt:lpstr>
      <vt:lpstr>Binary Worksheet</vt:lpstr>
      <vt:lpstr>STOXX®  CURRENCY HEDGED INDICES </vt:lpstr>
      <vt:lpstr>Agenda</vt:lpstr>
      <vt:lpstr>1. Executive summary</vt:lpstr>
      <vt:lpstr>STOXX Currency hedged indices: a complete index suite to hedged away undesired currency risks</vt:lpstr>
      <vt:lpstr>2. Why investors may need currency hedging</vt:lpstr>
      <vt:lpstr>Total returns from an investment may be significantly affected by currency exposures</vt:lpstr>
      <vt:lpstr>3. HOW a currency forward trade works</vt:lpstr>
      <vt:lpstr>Trading currency rate forward contracts allows to offset the impact of currency movements</vt:lpstr>
      <vt:lpstr>Trading currency rate forward contracts allows to offset the impact of currency movements</vt:lpstr>
      <vt:lpstr>4. Comparing alternatives: daily vs. monthly hedging</vt:lpstr>
      <vt:lpstr>The choice between a daily vs. monthly hedge is driven by market conditions and portfolio construction approach</vt:lpstr>
      <vt:lpstr>5. Daily vs. monthly hedging: formulas explained</vt:lpstr>
      <vt:lpstr>Daily hedging is more responsive, monthly hedging more parsimonious</vt:lpstr>
      <vt:lpstr>6. Showcase: EURO STOXX 50 CHF hedged</vt:lpstr>
      <vt:lpstr>Daily vs. monthly hedging matters in terms of timeliness and accuracy, less for long-term returns 1) </vt:lpstr>
      <vt:lpstr>STOXX offices</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GB color schemes</dc:title>
  <dc:creator>Wustmann, Stefanie</dc:creator>
  <cp:lastModifiedBy>Castelli, Giulio</cp:lastModifiedBy>
  <cp:revision>36</cp:revision>
  <dcterms:created xsi:type="dcterms:W3CDTF">2014-02-20T12:54:37Z</dcterms:created>
  <dcterms:modified xsi:type="dcterms:W3CDTF">2015-04-08T15:2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